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7.xml" ContentType="application/vnd.openxmlformats-officedocument.them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8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9.xml" ContentType="application/vnd.openxmlformats-officedocument.theme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7" r:id="rId1"/>
    <p:sldMasterId id="2147483670" r:id="rId2"/>
    <p:sldMasterId id="2147483673" r:id="rId3"/>
    <p:sldMasterId id="2147483676" r:id="rId4"/>
    <p:sldMasterId id="2147483679" r:id="rId5"/>
    <p:sldMasterId id="2147483688" r:id="rId6"/>
    <p:sldMasterId id="2147483691" r:id="rId7"/>
    <p:sldMasterId id="2147483708" r:id="rId8"/>
    <p:sldMasterId id="2147483726" r:id="rId9"/>
  </p:sldMasterIdLst>
  <p:notesMasterIdLst>
    <p:notesMasterId r:id="rId38"/>
  </p:notesMasterIdLst>
  <p:sldIdLst>
    <p:sldId id="17148" r:id="rId10"/>
    <p:sldId id="17150" r:id="rId11"/>
    <p:sldId id="1235" r:id="rId12"/>
    <p:sldId id="1236" r:id="rId13"/>
    <p:sldId id="1237" r:id="rId14"/>
    <p:sldId id="1238" r:id="rId15"/>
    <p:sldId id="1239" r:id="rId16"/>
    <p:sldId id="1240" r:id="rId17"/>
    <p:sldId id="1241" r:id="rId18"/>
    <p:sldId id="1242" r:id="rId19"/>
    <p:sldId id="1243" r:id="rId20"/>
    <p:sldId id="1244" r:id="rId21"/>
    <p:sldId id="1245" r:id="rId22"/>
    <p:sldId id="1246" r:id="rId23"/>
    <p:sldId id="1247" r:id="rId24"/>
    <p:sldId id="1248" r:id="rId25"/>
    <p:sldId id="1249" r:id="rId26"/>
    <p:sldId id="1250" r:id="rId27"/>
    <p:sldId id="1251" r:id="rId28"/>
    <p:sldId id="1252" r:id="rId29"/>
    <p:sldId id="1253" r:id="rId30"/>
    <p:sldId id="17151" r:id="rId31"/>
    <p:sldId id="1292" r:id="rId32"/>
    <p:sldId id="17152" r:id="rId33"/>
    <p:sldId id="17153" r:id="rId34"/>
    <p:sldId id="17154" r:id="rId35"/>
    <p:sldId id="17155" r:id="rId36"/>
    <p:sldId id="17156" r:id="rId3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6A34AC84-6D01-4448-A5A4-A46464A35886}">
          <p14:sldIdLst>
            <p14:sldId id="17148"/>
            <p14:sldId id="17150"/>
            <p14:sldId id="1235"/>
            <p14:sldId id="1236"/>
            <p14:sldId id="1237"/>
            <p14:sldId id="1238"/>
            <p14:sldId id="1239"/>
            <p14:sldId id="1240"/>
            <p14:sldId id="1241"/>
            <p14:sldId id="1242"/>
            <p14:sldId id="1243"/>
            <p14:sldId id="1244"/>
            <p14:sldId id="1245"/>
            <p14:sldId id="1246"/>
            <p14:sldId id="1247"/>
            <p14:sldId id="1248"/>
            <p14:sldId id="1249"/>
            <p14:sldId id="1250"/>
            <p14:sldId id="1251"/>
            <p14:sldId id="1252"/>
            <p14:sldId id="1253"/>
            <p14:sldId id="17151"/>
            <p14:sldId id="1292"/>
            <p14:sldId id="17152"/>
            <p14:sldId id="17153"/>
            <p14:sldId id="17154"/>
            <p14:sldId id="17155"/>
            <p14:sldId id="17156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89DD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800" autoAdjust="0"/>
    <p:restoredTop sz="80392" autoAdjust="0"/>
  </p:normalViewPr>
  <p:slideViewPr>
    <p:cSldViewPr snapToGrid="0" snapToObjects="1">
      <p:cViewPr varScale="1">
        <p:scale>
          <a:sx n="51" d="100"/>
          <a:sy n="51" d="100"/>
        </p:scale>
        <p:origin x="1264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70" d="100"/>
        <a:sy n="7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slide" Target="slides/slide17.xml"/><Relationship Id="rId39" Type="http://schemas.openxmlformats.org/officeDocument/2006/relationships/presProps" Target="presProps.xml"/><Relationship Id="rId21" Type="http://schemas.openxmlformats.org/officeDocument/2006/relationships/slide" Target="slides/slide12.xml"/><Relationship Id="rId34" Type="http://schemas.openxmlformats.org/officeDocument/2006/relationships/slide" Target="slides/slide25.xml"/><Relationship Id="rId42" Type="http://schemas.openxmlformats.org/officeDocument/2006/relationships/tableStyles" Target="tableStyles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7.xml"/><Relationship Id="rId20" Type="http://schemas.openxmlformats.org/officeDocument/2006/relationships/slide" Target="slides/slide11.xml"/><Relationship Id="rId29" Type="http://schemas.openxmlformats.org/officeDocument/2006/relationships/slide" Target="slides/slide20.xml"/><Relationship Id="rId41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32" Type="http://schemas.openxmlformats.org/officeDocument/2006/relationships/slide" Target="slides/slide23.xml"/><Relationship Id="rId37" Type="http://schemas.openxmlformats.org/officeDocument/2006/relationships/slide" Target="slides/slide28.xml"/><Relationship Id="rId40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slide" Target="slides/slide19.xml"/><Relationship Id="rId36" Type="http://schemas.openxmlformats.org/officeDocument/2006/relationships/slide" Target="slides/slide27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31" Type="http://schemas.openxmlformats.org/officeDocument/2006/relationships/slide" Target="slides/slide22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slide" Target="slides/slide18.xml"/><Relationship Id="rId30" Type="http://schemas.openxmlformats.org/officeDocument/2006/relationships/slide" Target="slides/slide21.xml"/><Relationship Id="rId35" Type="http://schemas.openxmlformats.org/officeDocument/2006/relationships/slide" Target="slides/slide26.xml"/><Relationship Id="rId8" Type="http://schemas.openxmlformats.org/officeDocument/2006/relationships/slideMaster" Target="slideMasters/slideMaster8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slide" Target="slides/slide16.xml"/><Relationship Id="rId33" Type="http://schemas.openxmlformats.org/officeDocument/2006/relationships/slide" Target="slides/slide24.xml"/><Relationship Id="rId38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E0CD50D-2A1D-2449-9DBE-D050EC7DC37C}" type="datetimeFigureOut">
              <a:rPr lang="en-US" smtClean="0"/>
              <a:t>10/9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DD8B280-315D-D24B-A20C-3E48796FABA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73212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Почему линейные модели не всегда подходят для реальных данных?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DD8B280-315D-D24B-A20C-3E48796FABA8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499427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56737" y="9442154"/>
            <a:ext cx="2950475" cy="498772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6858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FFC8E83-E755-4DE7-A386-29FA47BF119E}" type="slidenum">
              <a:rPr kumimoji="0" lang="ru-RU" sz="13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pPr marL="0" marR="0" lvl="0" indent="0" algn="l" defTabSz="6858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13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90823276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Как можно контролировать сложность дерева? (варианты: глубина, минимальное число наблюдений в листе, минимальное число на ветвление)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DD8B280-315D-D24B-A20C-3E48796FABA8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904881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Разбиения минимизируют </a:t>
            </a:r>
            <a:r>
              <a:rPr lang="ru-RU" i="1" dirty="0"/>
              <a:t>среднеквадратичную ошибку (MSE)</a:t>
            </a:r>
            <a:r>
              <a:rPr lang="ru-RU" dirty="0"/>
              <a:t>.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DD8B280-315D-D24B-A20C-3E48796FABA8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614529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Мы двигаемся по направлению антиградиента ошибки, отсюда и ‘градиентный’ </a:t>
            </a:r>
            <a:r>
              <a:rPr lang="ru-RU" dirty="0" err="1"/>
              <a:t>бустинг</a:t>
            </a:r>
            <a:r>
              <a:rPr lang="ru-RU" dirty="0"/>
              <a:t>.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DD8B280-315D-D24B-A20C-3E48796FABA8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012460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В </a:t>
            </a:r>
            <a:r>
              <a:rPr lang="ru-RU"/>
              <a:t>чем плюсы и минусы?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DD8B280-315D-D24B-A20C-3E48796FABA8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21986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3.xml"/><Relationship Id="rId7" Type="http://schemas.openxmlformats.org/officeDocument/2006/relationships/image" Target="../media/image3.jpe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2.emf"/><Relationship Id="rId11" Type="http://schemas.openxmlformats.org/officeDocument/2006/relationships/image" Target="../media/image7.pn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6.jpeg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5.png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8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8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8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8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8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9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9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9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9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9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9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9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9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9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9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9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9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9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9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36519" y="997527"/>
            <a:ext cx="11686307" cy="5613071"/>
          </a:xfrm>
          <a:prstGeom prst="rect">
            <a:avLst/>
          </a:prstGeo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  <a:lvl2pPr marL="914377" indent="-304792">
              <a:buFont typeface="Wingdings" pitchFamily="2" charset="2"/>
              <a:buChar char="§"/>
              <a:defRPr sz="3200">
                <a:solidFill>
                  <a:schemeClr val="tx1"/>
                </a:solidFill>
              </a:defRPr>
            </a:lvl2pPr>
            <a:lvl3pPr marL="1523962" indent="-304792">
              <a:buFont typeface="Courier New" panose="02070309020205020404" pitchFamily="49" charset="0"/>
              <a:buChar char="o"/>
              <a:defRPr sz="3200">
                <a:solidFill>
                  <a:schemeClr val="tx1"/>
                </a:solidFill>
              </a:defRPr>
            </a:lvl3pPr>
            <a:lvl4pPr marL="2133547" indent="-304792">
              <a:buFont typeface="Wingdings" pitchFamily="2" charset="2"/>
              <a:buChar char="q"/>
              <a:defRPr sz="3200">
                <a:solidFill>
                  <a:schemeClr val="tx1"/>
                </a:solidFill>
              </a:defRPr>
            </a:lvl4pPr>
            <a:lvl5pPr marL="2743131" indent="-304792">
              <a:buFont typeface="Wingdings" pitchFamily="2" charset="2"/>
              <a:buChar char="Ø"/>
              <a:defRPr sz="3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B1B327-4D8B-4363-B1F2-9ED0E4F4AAE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>
          <a:xfrm>
            <a:off x="1003230" y="228334"/>
            <a:ext cx="10919596" cy="546229"/>
          </a:xfrm>
          <a:prstGeom prst="rect">
            <a:avLst/>
          </a:prstGeom>
        </p:spPr>
        <p:txBody>
          <a:bodyPr/>
          <a:lstStyle>
            <a:lvl1pPr>
              <a:defRPr sz="3733" b="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6060317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8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1B6CC8A6-66D6-8540-9404-70171C0A206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72000">
                <a:srgbClr val="063D60"/>
              </a:gs>
              <a:gs pos="100000">
                <a:srgbClr val="102853"/>
              </a:gs>
              <a:gs pos="0">
                <a:srgbClr val="009F8A"/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406786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6412FE64-B2CB-D34C-8736-FC222D130CF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72000">
                <a:srgbClr val="063D60"/>
              </a:gs>
              <a:gs pos="100000">
                <a:srgbClr val="102853"/>
              </a:gs>
              <a:gs pos="0">
                <a:srgbClr val="009F8A"/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165853-4D36-1943-8A9B-22198F0DA6E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0235" y="1643063"/>
            <a:ext cx="5118629" cy="463073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800">
                <a:solidFill>
                  <a:schemeClr val="bg1"/>
                </a:solidFill>
                <a:latin typeface="SB Serif Display" panose="02000503000000020004" pitchFamily="2" charset="77"/>
                <a:cs typeface="SB Serif Display" panose="02000503000000020004" pitchFamily="2" charset="77"/>
              </a:defRPr>
            </a:lvl1pPr>
            <a:lvl2pPr marL="4572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600">
                <a:solidFill>
                  <a:schemeClr val="bg1"/>
                </a:solidFill>
                <a:latin typeface="SB Serif Display" panose="02000503000000020004" pitchFamily="2" charset="77"/>
                <a:cs typeface="SB Serif Display" panose="02000503000000020004" pitchFamily="2" charset="77"/>
              </a:defRPr>
            </a:lvl2pPr>
            <a:lvl3pPr marL="9144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400">
                <a:solidFill>
                  <a:schemeClr val="bg1"/>
                </a:solidFill>
                <a:latin typeface="SB Serif Display" panose="02000503000000020004" pitchFamily="2" charset="77"/>
                <a:cs typeface="SB Serif Display" panose="02000503000000020004" pitchFamily="2" charset="77"/>
              </a:defRPr>
            </a:lvl3pPr>
            <a:lvl4pPr marL="13716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200">
                <a:solidFill>
                  <a:schemeClr val="bg1"/>
                </a:solidFill>
                <a:latin typeface="SB Serif Display" panose="02000503000000020004" pitchFamily="2" charset="77"/>
                <a:cs typeface="SB Serif Display" panose="02000503000000020004" pitchFamily="2" charset="77"/>
              </a:defRPr>
            </a:lvl4pPr>
            <a:lvl5pPr marL="18288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200">
                <a:solidFill>
                  <a:schemeClr val="bg1"/>
                </a:solidFill>
                <a:latin typeface="SB Serif Display" panose="02000503000000020004" pitchFamily="2" charset="77"/>
                <a:cs typeface="SB Serif Display" panose="02000503000000020004" pitchFamily="2" charset="77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B9226A8B-3CB8-A74D-BF01-D309E752B7D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41534" y="1643063"/>
            <a:ext cx="5118629" cy="463073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800">
                <a:solidFill>
                  <a:schemeClr val="bg1"/>
                </a:solidFill>
                <a:latin typeface="SB Serif Display" panose="02000503000000020004" pitchFamily="2" charset="77"/>
                <a:cs typeface="SB Serif Display" panose="02000503000000020004" pitchFamily="2" charset="77"/>
              </a:defRPr>
            </a:lvl1pPr>
            <a:lvl2pPr marL="4572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600">
                <a:solidFill>
                  <a:schemeClr val="bg1"/>
                </a:solidFill>
                <a:latin typeface="SB Serif Display" panose="02000503000000020004" pitchFamily="2" charset="77"/>
                <a:cs typeface="SB Serif Display" panose="02000503000000020004" pitchFamily="2" charset="77"/>
              </a:defRPr>
            </a:lvl2pPr>
            <a:lvl3pPr marL="9144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400">
                <a:solidFill>
                  <a:schemeClr val="bg1"/>
                </a:solidFill>
                <a:latin typeface="SB Serif Display" panose="02000503000000020004" pitchFamily="2" charset="77"/>
                <a:cs typeface="SB Serif Display" panose="02000503000000020004" pitchFamily="2" charset="77"/>
              </a:defRPr>
            </a:lvl3pPr>
            <a:lvl4pPr marL="13716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200">
                <a:solidFill>
                  <a:schemeClr val="bg1"/>
                </a:solidFill>
                <a:latin typeface="SB Serif Display" panose="02000503000000020004" pitchFamily="2" charset="77"/>
                <a:cs typeface="SB Serif Display" panose="02000503000000020004" pitchFamily="2" charset="77"/>
              </a:defRPr>
            </a:lvl4pPr>
            <a:lvl5pPr marL="18288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200">
                <a:solidFill>
                  <a:schemeClr val="bg1"/>
                </a:solidFill>
                <a:latin typeface="SB Serif Display" panose="02000503000000020004" pitchFamily="2" charset="77"/>
                <a:cs typeface="SB Serif Display" panose="02000503000000020004" pitchFamily="2" charset="77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65B6BD5D-AA5F-9445-A8E3-C776FA21400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51" y="56766"/>
            <a:ext cx="2913897" cy="1639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26831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3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165853-4D36-1943-8A9B-22198F0DA6E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0239" y="1643063"/>
            <a:ext cx="3374494" cy="463073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10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1pPr>
            <a:lvl2pPr marL="4572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05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2pPr>
            <a:lvl3pPr marL="9144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00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3pPr>
            <a:lvl4pPr marL="13716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90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4pPr>
            <a:lvl5pPr marL="18288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90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5231ADFA-B54C-AB43-82C8-00016CA7FDB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07154" y="1643063"/>
            <a:ext cx="3374494" cy="463073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10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1pPr>
            <a:lvl2pPr marL="4572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05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2pPr>
            <a:lvl3pPr marL="9144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00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3pPr>
            <a:lvl4pPr marL="13716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90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4pPr>
            <a:lvl5pPr marL="18288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90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2D7AAE23-FB81-344D-9421-B420B52CB8F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984069" y="1643063"/>
            <a:ext cx="3374494" cy="463073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10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1pPr>
            <a:lvl2pPr marL="4572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05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2pPr>
            <a:lvl3pPr marL="9144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00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3pPr>
            <a:lvl4pPr marL="13716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90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4pPr>
            <a:lvl5pPr marL="18288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90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55D2506A-4ED4-6B4B-B0D8-880F93485A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2226" y="503596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bg1"/>
                </a:solidFill>
                <a:latin typeface="SB Serif Display" panose="02000503000000020004" pitchFamily="50" charset="-52"/>
                <a:cs typeface="SB Serif Display" panose="02000503000000020004" pitchFamily="50" charset="-52"/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0E2D5FD4-FBF3-AD41-8F5A-67BA3CFA7BC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72000">
                <a:srgbClr val="063D60"/>
              </a:gs>
              <a:gs pos="100000">
                <a:srgbClr val="102853"/>
              </a:gs>
              <a:gs pos="0">
                <a:srgbClr val="009F8A"/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0" name="Рисунок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21384" b="31255"/>
          <a:stretch/>
        </p:blipFill>
        <p:spPr>
          <a:xfrm>
            <a:off x="7841346" y="4873746"/>
            <a:ext cx="4346300" cy="19711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53982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4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165853-4D36-1943-8A9B-22198F0DA6E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0238" y="1643063"/>
            <a:ext cx="6327024" cy="463073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40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1pPr>
            <a:lvl2pPr marL="4572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20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2pPr>
            <a:lvl3pPr marL="9144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10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3pPr>
            <a:lvl4pPr marL="13716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05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4pPr>
            <a:lvl5pPr marL="18288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05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2D7AAE23-FB81-344D-9421-B420B52CB8F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102600" y="1860370"/>
            <a:ext cx="2882900" cy="402114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800" b="0" i="0">
                <a:solidFill>
                  <a:schemeClr val="bg1"/>
                </a:solidFill>
                <a:latin typeface="SB Serif Display" panose="02000503000000020004" pitchFamily="2" charset="77"/>
                <a:cs typeface="SB Serif Display" panose="02000503000000020004" pitchFamily="2" charset="77"/>
              </a:defRPr>
            </a:lvl1pPr>
            <a:lvl2pPr marL="4572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800">
                <a:latin typeface="SB Sans Text" panose="020B0503040504020204" pitchFamily="34" charset="77"/>
                <a:cs typeface="SB Sans Text" panose="020B0503040504020204" pitchFamily="34" charset="77"/>
              </a:defRPr>
            </a:lvl2pPr>
            <a:lvl3pPr marL="9144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800">
                <a:latin typeface="SB Sans Text" panose="020B0503040504020204" pitchFamily="34" charset="77"/>
                <a:cs typeface="SB Sans Text" panose="020B0503040504020204" pitchFamily="34" charset="77"/>
              </a:defRPr>
            </a:lvl3pPr>
            <a:lvl4pPr marL="13716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800">
                <a:latin typeface="SB Sans Text" panose="020B0503040504020204" pitchFamily="34" charset="77"/>
                <a:cs typeface="SB Sans Text" panose="020B0503040504020204" pitchFamily="34" charset="77"/>
              </a:defRPr>
            </a:lvl4pPr>
            <a:lvl5pPr marL="18288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800">
                <a:latin typeface="SB Sans Text" panose="020B0503040504020204" pitchFamily="34" charset="77"/>
                <a:cs typeface="SB Sans Text" panose="020B0503040504020204" pitchFamily="34" charset="77"/>
              </a:defRPr>
            </a:lvl5pPr>
          </a:lstStyle>
          <a:p>
            <a:pPr lvl="0"/>
            <a:r>
              <a:rPr lang="en-US" dirty="0"/>
              <a:t>Edit Master text styles</a:t>
            </a:r>
            <a:endParaRPr lang="ru-RU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3785A9E5-742C-574E-9734-C24EC86EF7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2226" y="503596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bg1"/>
                </a:solidFill>
                <a:latin typeface="SB Serif Display" panose="02000503000000020004" pitchFamily="50" charset="-52"/>
                <a:cs typeface="SB Serif Display" panose="02000503000000020004" pitchFamily="50" charset="-52"/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FDA30490-3536-F142-80E3-5781A85DB4F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72000">
                <a:srgbClr val="063D60"/>
              </a:gs>
              <a:gs pos="100000">
                <a:srgbClr val="102853"/>
              </a:gs>
              <a:gs pos="0">
                <a:srgbClr val="009F8A"/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1977162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5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2D5CEAA4-819F-5B40-B969-7DE37E847A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2226" y="503596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bg1"/>
                </a:solidFill>
                <a:latin typeface="SB Serif Display" panose="02000503000000020004" pitchFamily="50" charset="-52"/>
                <a:cs typeface="SB Serif Display" panose="02000503000000020004" pitchFamily="50" charset="-52"/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6B5DE7FF-E635-A040-A1DF-DE6045737D7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72000">
                <a:srgbClr val="063D60"/>
              </a:gs>
              <a:gs pos="100000">
                <a:srgbClr val="102853"/>
              </a:gs>
              <a:gs pos="0">
                <a:srgbClr val="009F8A"/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385877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0925952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1050470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6B5DE7FF-E635-A040-A1DF-DE6045737D7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72000">
                <a:srgbClr val="063D60"/>
              </a:gs>
              <a:gs pos="100000">
                <a:srgbClr val="102853"/>
              </a:gs>
              <a:gs pos="0">
                <a:srgbClr val="009F8A"/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19258" b="31255"/>
          <a:stretch/>
        </p:blipFill>
        <p:spPr>
          <a:xfrm>
            <a:off x="7736842" y="4873746"/>
            <a:ext cx="4463868" cy="19711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188307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3281755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383C8DA4-66FA-0C4A-B9C4-294394D8242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72000">
                <a:srgbClr val="063D60"/>
              </a:gs>
              <a:gs pos="100000">
                <a:srgbClr val="102853"/>
              </a:gs>
              <a:gs pos="0">
                <a:srgbClr val="009F8A"/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7D36AD7-1AB0-6945-AAAA-F2A9B6C319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2588474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" y="0"/>
          <a:ext cx="215979" cy="1619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215979" cy="1619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1485751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14377" eaLnBrk="1" hangingPunct="1">
              <a:defRPr/>
            </a:pPr>
            <a:endParaRPr lang="ru-RU" sz="816" dirty="0">
              <a:solidFill>
                <a:prstClr val="black"/>
              </a:solidFill>
              <a:cs typeface="Arial"/>
            </a:endParaRPr>
          </a:p>
        </p:txBody>
      </p:sp>
      <p:sp>
        <p:nvSpPr>
          <p:cNvPr id="21" name="Rectangle 1027" hidden="1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3991293" y="5021963"/>
            <a:ext cx="7192092" cy="2827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ru-RU"/>
            </a:defPPr>
            <a:lvl1pPr marL="0" defTabSz="931977" eaLnBrk="1" latinLnBrk="0" hangingPunct="1">
              <a:defRPr b="1">
                <a:solidFill>
                  <a:srgbClr val="FFFFFF"/>
                </a:solidFill>
                <a:cs typeface="Arial" charset="0"/>
              </a:defRPr>
            </a:lvl1pPr>
            <a:lvl2pPr marL="742950" indent="-285750" defTabSz="914012" eaLnBrk="0" latinLnBrk="0" hangingPunct="0">
              <a:defRPr sz="1000">
                <a:cs typeface="Arial" charset="0"/>
              </a:defRPr>
            </a:lvl2pPr>
            <a:lvl3pPr marL="1143000" indent="-228600" defTabSz="914012" eaLnBrk="0" latinLnBrk="0" hangingPunct="0">
              <a:defRPr sz="1000">
                <a:cs typeface="Arial" charset="0"/>
              </a:defRPr>
            </a:lvl3pPr>
            <a:lvl4pPr marL="1600200" indent="-228600" defTabSz="914012" eaLnBrk="0" latinLnBrk="0" hangingPunct="0">
              <a:defRPr sz="1000">
                <a:cs typeface="Arial" charset="0"/>
              </a:defRPr>
            </a:lvl4pPr>
            <a:lvl5pPr marL="2057400" indent="-228600" defTabSz="914012" eaLnBrk="0" latinLnBrk="0" hangingPunct="0">
              <a:defRPr sz="1000">
                <a:cs typeface="Arial" charset="0"/>
              </a:defRPr>
            </a:lvl5pPr>
            <a:lvl6pPr marL="25146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6pPr>
            <a:lvl7pPr marL="29718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7pPr>
            <a:lvl8pPr marL="34290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8pPr>
            <a:lvl9pPr marL="38862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9pPr>
          </a:lstStyle>
          <a:p>
            <a:r>
              <a:rPr lang="en-US" sz="1837" dirty="0"/>
              <a:t>Click to edit Master subtitle style</a:t>
            </a:r>
          </a:p>
        </p:txBody>
      </p:sp>
      <p:pic>
        <p:nvPicPr>
          <p:cNvPr id="12" name="Picture 286" descr="cid:image003.jpg@01D1F98A.C035CF10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22015" y="4684154"/>
            <a:ext cx="6453899" cy="21727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Прямоугольник 7"/>
          <p:cNvSpPr/>
          <p:nvPr userDrawn="1"/>
        </p:nvSpPr>
        <p:spPr>
          <a:xfrm>
            <a:off x="6578885" y="42560"/>
            <a:ext cx="4087435" cy="1545193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3268" tIns="46635" rIns="93268" bIns="46635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7"/>
            <a:endParaRPr lang="ru-RU" sz="1632" dirty="0" err="1">
              <a:solidFill>
                <a:prstClr val="black"/>
              </a:solidFill>
            </a:endParaRPr>
          </a:p>
        </p:txBody>
      </p:sp>
      <p:pic>
        <p:nvPicPr>
          <p:cNvPr id="15" name="Picture 2"/>
          <p:cNvPicPr>
            <a:picLocks noChangeAspect="1" noChangeArrowheads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2083" y="305473"/>
            <a:ext cx="1015845" cy="10193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16" name="Straight Connector 9"/>
          <p:cNvCxnSpPr/>
          <p:nvPr userDrawn="1"/>
        </p:nvCxnSpPr>
        <p:spPr>
          <a:xfrm flipV="1">
            <a:off x="2030705" y="1303175"/>
            <a:ext cx="8805981" cy="20544"/>
          </a:xfrm>
          <a:prstGeom prst="line">
            <a:avLst/>
          </a:prstGeom>
          <a:noFill/>
          <a:ln w="25400" cap="flat" cmpd="sng" algn="ctr">
            <a:solidFill>
              <a:srgbClr val="C6DE27"/>
            </a:solidFill>
            <a:prstDash val="solid"/>
          </a:ln>
          <a:effectLst/>
        </p:spPr>
      </p:cxnSp>
      <p:pic>
        <p:nvPicPr>
          <p:cNvPr id="17" name="Picture 297"/>
          <p:cNvPicPr>
            <a:picLocks noChangeAspect="1" noChangeArrowheads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12717" y="191092"/>
            <a:ext cx="3390308" cy="22652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Изображение 6"/>
          <p:cNvPicPr>
            <a:picLocks noChangeAspect="1"/>
          </p:cNvPicPr>
          <p:nvPr userDrawn="1"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5794"/>
            <a:ext cx="12192000" cy="5135180"/>
          </a:xfrm>
          <a:prstGeom prst="rect">
            <a:avLst/>
          </a:prstGeom>
        </p:spPr>
      </p:pic>
      <p:sp>
        <p:nvSpPr>
          <p:cNvPr id="13" name="Прямоугольник 5"/>
          <p:cNvSpPr/>
          <p:nvPr userDrawn="1"/>
        </p:nvSpPr>
        <p:spPr>
          <a:xfrm>
            <a:off x="0" y="3727955"/>
            <a:ext cx="12192000" cy="3140968"/>
          </a:xfrm>
          <a:prstGeom prst="rect">
            <a:avLst/>
          </a:prstGeom>
          <a:gradFill flip="none" rotWithShape="1">
            <a:gsLst>
              <a:gs pos="0">
                <a:srgbClr val="339966">
                  <a:shade val="30000"/>
                  <a:satMod val="115000"/>
                </a:srgbClr>
              </a:gs>
              <a:gs pos="50000">
                <a:srgbClr val="339966">
                  <a:shade val="67500"/>
                  <a:satMod val="115000"/>
                </a:srgbClr>
              </a:gs>
              <a:gs pos="100000">
                <a:srgbClr val="339966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ru-RU" sz="1800">
              <a:solidFill>
                <a:prstClr val="white"/>
              </a:solidFill>
            </a:endParaRPr>
          </a:p>
        </p:txBody>
      </p:sp>
      <p:pic>
        <p:nvPicPr>
          <p:cNvPr id="18" name="Изображение 9"/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5229" y="-6067"/>
            <a:ext cx="1749616" cy="1712947"/>
          </a:xfrm>
          <a:prstGeom prst="rect">
            <a:avLst/>
          </a:prstGeom>
        </p:spPr>
      </p:pic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179295" y="3884137"/>
            <a:ext cx="11708175" cy="279004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  <a:lvl2pPr marL="609585" indent="0">
              <a:buNone/>
              <a:defRPr sz="3200">
                <a:solidFill>
                  <a:schemeClr val="bg1"/>
                </a:solidFill>
              </a:defRPr>
            </a:lvl2pPr>
            <a:lvl3pPr marL="1219170" indent="0">
              <a:buNone/>
              <a:defRPr sz="3200">
                <a:solidFill>
                  <a:schemeClr val="bg1"/>
                </a:solidFill>
              </a:defRPr>
            </a:lvl3pPr>
            <a:lvl4pPr marL="1828754" indent="0">
              <a:buNone/>
              <a:defRPr sz="3200">
                <a:solidFill>
                  <a:schemeClr val="bg1"/>
                </a:solidFill>
              </a:defRPr>
            </a:lvl4pPr>
            <a:lvl5pPr marL="2438339" indent="0">
              <a:buNone/>
              <a:defRPr sz="3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7273603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7580B0BA-E596-8540-B486-F747F0C3AA5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72000">
                <a:srgbClr val="063D60"/>
              </a:gs>
              <a:gs pos="100000">
                <a:srgbClr val="102853"/>
              </a:gs>
              <a:gs pos="0">
                <a:srgbClr val="009F8A"/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77798090-64AE-374F-A5DC-E861110F0A7E}"/>
              </a:ext>
            </a:extLst>
          </p:cNvPr>
          <p:cNvSpPr/>
          <p:nvPr userDrawn="1"/>
        </p:nvSpPr>
        <p:spPr>
          <a:xfrm rot="10800000">
            <a:off x="1862666" y="801511"/>
            <a:ext cx="2528712" cy="5260622"/>
          </a:xfrm>
          <a:prstGeom prst="rect">
            <a:avLst/>
          </a:prstGeom>
          <a:gradFill>
            <a:gsLst>
              <a:gs pos="72000">
                <a:srgbClr val="063D60"/>
              </a:gs>
              <a:gs pos="100000">
                <a:srgbClr val="102853"/>
              </a:gs>
              <a:gs pos="0">
                <a:srgbClr val="009F8A"/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9868D7AA-469A-F449-8BDE-ABB87DCA4B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4696" y="530677"/>
            <a:ext cx="2991442" cy="57966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775612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7E43891C-D2E9-4E47-B39A-50897C511C1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72000">
                <a:srgbClr val="063D60"/>
              </a:gs>
              <a:gs pos="100000">
                <a:srgbClr val="102853"/>
              </a:gs>
              <a:gs pos="0">
                <a:srgbClr val="009F8A"/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7E9ED42B-06C9-E743-852A-04ED23B013C3}"/>
              </a:ext>
            </a:extLst>
          </p:cNvPr>
          <p:cNvSpPr/>
          <p:nvPr userDrawn="1"/>
        </p:nvSpPr>
        <p:spPr>
          <a:xfrm rot="10800000">
            <a:off x="6096000" y="801511"/>
            <a:ext cx="2528712" cy="5260622"/>
          </a:xfrm>
          <a:prstGeom prst="rect">
            <a:avLst/>
          </a:prstGeom>
          <a:gradFill>
            <a:gsLst>
              <a:gs pos="72000">
                <a:srgbClr val="063D60"/>
              </a:gs>
              <a:gs pos="100000">
                <a:srgbClr val="102853"/>
              </a:gs>
              <a:gs pos="0">
                <a:srgbClr val="009F8A"/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09DB52A2-F7F1-9C4D-9A6E-2CC74FBD6AB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4635" y="530677"/>
            <a:ext cx="2991442" cy="57966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76654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BADD8343-5F58-254F-A13A-CB138B5B3D2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72000">
                <a:srgbClr val="063D60"/>
              </a:gs>
              <a:gs pos="100000">
                <a:srgbClr val="102853"/>
              </a:gs>
              <a:gs pos="0">
                <a:srgbClr val="009F8A"/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89A2B80D-311F-D042-86AB-C8200D7130E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03912" y="711770"/>
            <a:ext cx="4135483" cy="5644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004797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31BD5DA9-EEE2-6D47-8773-9172C8781E7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72000">
                <a:srgbClr val="063D60"/>
              </a:gs>
              <a:gs pos="100000">
                <a:srgbClr val="102853"/>
              </a:gs>
              <a:gs pos="0">
                <a:srgbClr val="009F8A"/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098A0610-D36C-3E44-8C1B-A5CFD059304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4282" y="1226799"/>
            <a:ext cx="8126494" cy="46285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859946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2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0F4AA5DE-80FE-C145-9573-993AA70946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2226" y="503596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bg1"/>
                </a:solidFill>
                <a:latin typeface="SB Serif Display" panose="02000503000000020004" pitchFamily="50" charset="-52"/>
                <a:cs typeface="SB Serif Display" panose="02000503000000020004" pitchFamily="50" charset="-52"/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DE47B36B-61BD-0C48-A64C-7B20D2FB1AC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72000">
                <a:srgbClr val="063D60"/>
              </a:gs>
              <a:gs pos="100000">
                <a:srgbClr val="102853"/>
              </a:gs>
              <a:gs pos="0">
                <a:srgbClr val="009F8A"/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079" r="873" b="3774"/>
          <a:stretch/>
        </p:blipFill>
        <p:spPr>
          <a:xfrm rot="13771779">
            <a:off x="8037527" y="-642313"/>
            <a:ext cx="5682551" cy="3456622"/>
          </a:xfrm>
          <a:custGeom>
            <a:avLst/>
            <a:gdLst>
              <a:gd name="connsiteX0" fmla="*/ 4782236 w 4782236"/>
              <a:gd name="connsiteY0" fmla="*/ 0 h 2908972"/>
              <a:gd name="connsiteX1" fmla="*/ 2300341 w 4782236"/>
              <a:gd name="connsiteY1" fmla="*/ 2908972 h 2908972"/>
              <a:gd name="connsiteX2" fmla="*/ 0 w 4782236"/>
              <a:gd name="connsiteY2" fmla="*/ 946353 h 2908972"/>
              <a:gd name="connsiteX3" fmla="*/ 807415 w 4782236"/>
              <a:gd name="connsiteY3" fmla="*/ 0 h 2908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82236" h="2908972">
                <a:moveTo>
                  <a:pt x="4782236" y="0"/>
                </a:moveTo>
                <a:lnTo>
                  <a:pt x="2300341" y="2908972"/>
                </a:lnTo>
                <a:lnTo>
                  <a:pt x="0" y="946353"/>
                </a:lnTo>
                <a:lnTo>
                  <a:pt x="807415" y="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1604156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7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B1A4D9-F9F8-B841-83FC-B488675FB2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4696" y="1766758"/>
            <a:ext cx="5138555" cy="1325563"/>
          </a:xfrm>
          <a:prstGeom prst="rect">
            <a:avLst/>
          </a:prstGeom>
        </p:spPr>
        <p:txBody>
          <a:bodyPr anchor="t" anchorCtr="0"/>
          <a:lstStyle>
            <a:lvl1pPr algn="l">
              <a:defRPr>
                <a:solidFill>
                  <a:schemeClr val="bg1"/>
                </a:solidFill>
                <a:latin typeface="SB Serif Display" panose="02000503000000020004" pitchFamily="50" charset="-52"/>
                <a:cs typeface="SB Serif Display" panose="02000503000000020004" pitchFamily="50" charset="-52"/>
              </a:defRPr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4076BCEE-4692-634B-A63B-DD99E1048B6B}"/>
              </a:ext>
            </a:extLst>
          </p:cNvPr>
          <p:cNvSpPr txBox="1">
            <a:spLocks/>
          </p:cNvSpPr>
          <p:nvPr userDrawn="1"/>
        </p:nvSpPr>
        <p:spPr>
          <a:xfrm>
            <a:off x="9210368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b="0" i="0" kern="1200">
                <a:solidFill>
                  <a:schemeClr val="tx1">
                    <a:tint val="75000"/>
                  </a:schemeClr>
                </a:solidFill>
                <a:latin typeface="SB Sans Display Regular" panose="020B050304050402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5FE8ADF-25A3-4B39-A1EB-43B990C73963}" type="slidenum">
              <a:rPr lang="ru-RU" smtClean="0">
                <a:solidFill>
                  <a:schemeClr val="bg1"/>
                </a:solidFill>
                <a:latin typeface="SB Serif Display" panose="02000503000000020004" pitchFamily="50" charset="-52"/>
                <a:cs typeface="SB Serif Display" panose="02000503000000020004" pitchFamily="50" charset="-52"/>
              </a:rPr>
              <a:pPr/>
              <a:t>‹#›</a:t>
            </a:fld>
            <a:endParaRPr lang="ru-RU" dirty="0">
              <a:solidFill>
                <a:schemeClr val="bg1"/>
              </a:solidFill>
              <a:latin typeface="SB Serif Display" panose="02000503000000020004" pitchFamily="50" charset="-52"/>
              <a:cs typeface="SB Serif Display" panose="02000503000000020004" pitchFamily="50" charset="-52"/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5391B870-19B2-CE40-B8E2-DDC2129A79A3}"/>
              </a:ext>
            </a:extLst>
          </p:cNvPr>
          <p:cNvSpPr/>
          <p:nvPr userDrawn="1"/>
        </p:nvSpPr>
        <p:spPr>
          <a:xfrm>
            <a:off x="0" y="0"/>
            <a:ext cx="7409468" cy="6858000"/>
          </a:xfrm>
          <a:prstGeom prst="rect">
            <a:avLst/>
          </a:prstGeom>
          <a:gradFill>
            <a:gsLst>
              <a:gs pos="72000">
                <a:srgbClr val="063D60"/>
              </a:gs>
              <a:gs pos="100000">
                <a:srgbClr val="102853"/>
              </a:gs>
              <a:gs pos="0">
                <a:srgbClr val="009F8A"/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684820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8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1B6CC8A6-66D6-8540-9404-70171C0A206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72000">
                <a:srgbClr val="063D60"/>
              </a:gs>
              <a:gs pos="100000">
                <a:srgbClr val="102853"/>
              </a:gs>
              <a:gs pos="0">
                <a:srgbClr val="009F8A"/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556815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6412FE64-B2CB-D34C-8736-FC222D130CF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72000">
                <a:srgbClr val="063D60"/>
              </a:gs>
              <a:gs pos="100000">
                <a:srgbClr val="102853"/>
              </a:gs>
              <a:gs pos="0">
                <a:srgbClr val="009F8A"/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165853-4D36-1943-8A9B-22198F0DA6E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0235" y="1643063"/>
            <a:ext cx="5118629" cy="463073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800">
                <a:solidFill>
                  <a:schemeClr val="bg1"/>
                </a:solidFill>
                <a:latin typeface="SB Serif Display" panose="02000503000000020004" pitchFamily="2" charset="77"/>
                <a:cs typeface="SB Serif Display" panose="02000503000000020004" pitchFamily="2" charset="77"/>
              </a:defRPr>
            </a:lvl1pPr>
            <a:lvl2pPr marL="4572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600">
                <a:solidFill>
                  <a:schemeClr val="bg1"/>
                </a:solidFill>
                <a:latin typeface="SB Serif Display" panose="02000503000000020004" pitchFamily="2" charset="77"/>
                <a:cs typeface="SB Serif Display" panose="02000503000000020004" pitchFamily="2" charset="77"/>
              </a:defRPr>
            </a:lvl2pPr>
            <a:lvl3pPr marL="9144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400">
                <a:solidFill>
                  <a:schemeClr val="bg1"/>
                </a:solidFill>
                <a:latin typeface="SB Serif Display" panose="02000503000000020004" pitchFamily="2" charset="77"/>
                <a:cs typeface="SB Serif Display" panose="02000503000000020004" pitchFamily="2" charset="77"/>
              </a:defRPr>
            </a:lvl3pPr>
            <a:lvl4pPr marL="13716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200">
                <a:solidFill>
                  <a:schemeClr val="bg1"/>
                </a:solidFill>
                <a:latin typeface="SB Serif Display" panose="02000503000000020004" pitchFamily="2" charset="77"/>
                <a:cs typeface="SB Serif Display" panose="02000503000000020004" pitchFamily="2" charset="77"/>
              </a:defRPr>
            </a:lvl4pPr>
            <a:lvl5pPr marL="18288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200">
                <a:solidFill>
                  <a:schemeClr val="bg1"/>
                </a:solidFill>
                <a:latin typeface="SB Serif Display" panose="02000503000000020004" pitchFamily="2" charset="77"/>
                <a:cs typeface="SB Serif Display" panose="02000503000000020004" pitchFamily="2" charset="77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B9226A8B-3CB8-A74D-BF01-D309E752B7D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41534" y="1643063"/>
            <a:ext cx="5118629" cy="463073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800">
                <a:solidFill>
                  <a:schemeClr val="bg1"/>
                </a:solidFill>
                <a:latin typeface="SB Serif Display" panose="02000503000000020004" pitchFamily="2" charset="77"/>
                <a:cs typeface="SB Serif Display" panose="02000503000000020004" pitchFamily="2" charset="77"/>
              </a:defRPr>
            </a:lvl1pPr>
            <a:lvl2pPr marL="4572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600">
                <a:solidFill>
                  <a:schemeClr val="bg1"/>
                </a:solidFill>
                <a:latin typeface="SB Serif Display" panose="02000503000000020004" pitchFamily="2" charset="77"/>
                <a:cs typeface="SB Serif Display" panose="02000503000000020004" pitchFamily="2" charset="77"/>
              </a:defRPr>
            </a:lvl2pPr>
            <a:lvl3pPr marL="9144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400">
                <a:solidFill>
                  <a:schemeClr val="bg1"/>
                </a:solidFill>
                <a:latin typeface="SB Serif Display" panose="02000503000000020004" pitchFamily="2" charset="77"/>
                <a:cs typeface="SB Serif Display" panose="02000503000000020004" pitchFamily="2" charset="77"/>
              </a:defRPr>
            </a:lvl3pPr>
            <a:lvl4pPr marL="13716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200">
                <a:solidFill>
                  <a:schemeClr val="bg1"/>
                </a:solidFill>
                <a:latin typeface="SB Serif Display" panose="02000503000000020004" pitchFamily="2" charset="77"/>
                <a:cs typeface="SB Serif Display" panose="02000503000000020004" pitchFamily="2" charset="77"/>
              </a:defRPr>
            </a:lvl4pPr>
            <a:lvl5pPr marL="18288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200">
                <a:solidFill>
                  <a:schemeClr val="bg1"/>
                </a:solidFill>
                <a:latin typeface="SB Serif Display" panose="02000503000000020004" pitchFamily="2" charset="77"/>
                <a:cs typeface="SB Serif Display" panose="02000503000000020004" pitchFamily="2" charset="77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65B6BD5D-AA5F-9445-A8E3-C776FA21400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51" y="56766"/>
            <a:ext cx="2913897" cy="1639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64021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3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165853-4D36-1943-8A9B-22198F0DA6E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0239" y="1643063"/>
            <a:ext cx="3374494" cy="463073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10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1pPr>
            <a:lvl2pPr marL="4572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05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2pPr>
            <a:lvl3pPr marL="9144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00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3pPr>
            <a:lvl4pPr marL="13716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90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4pPr>
            <a:lvl5pPr marL="18288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90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5231ADFA-B54C-AB43-82C8-00016CA7FDB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07154" y="1643063"/>
            <a:ext cx="3374494" cy="463073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10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1pPr>
            <a:lvl2pPr marL="4572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05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2pPr>
            <a:lvl3pPr marL="9144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00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3pPr>
            <a:lvl4pPr marL="13716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90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4pPr>
            <a:lvl5pPr marL="18288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90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2D7AAE23-FB81-344D-9421-B420B52CB8F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984069" y="1643063"/>
            <a:ext cx="3374494" cy="463073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10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1pPr>
            <a:lvl2pPr marL="4572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05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2pPr>
            <a:lvl3pPr marL="9144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00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3pPr>
            <a:lvl4pPr marL="13716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90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4pPr>
            <a:lvl5pPr marL="18288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90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55D2506A-4ED4-6B4B-B0D8-880F93485A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2226" y="503596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bg1"/>
                </a:solidFill>
                <a:latin typeface="SB Serif Display" panose="02000503000000020004" pitchFamily="50" charset="-52"/>
                <a:cs typeface="SB Serif Display" panose="02000503000000020004" pitchFamily="50" charset="-52"/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0E2D5FD4-FBF3-AD41-8F5A-67BA3CFA7BC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72000">
                <a:srgbClr val="063D60"/>
              </a:gs>
              <a:gs pos="100000">
                <a:srgbClr val="102853"/>
              </a:gs>
              <a:gs pos="0">
                <a:srgbClr val="009F8A"/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0" name="Рисунок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21384" b="31255"/>
          <a:stretch/>
        </p:blipFill>
        <p:spPr>
          <a:xfrm>
            <a:off x="7841346" y="4873746"/>
            <a:ext cx="4346300" cy="19711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04713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4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165853-4D36-1943-8A9B-22198F0DA6E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0238" y="1643063"/>
            <a:ext cx="6327024" cy="463073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40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1pPr>
            <a:lvl2pPr marL="4572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20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2pPr>
            <a:lvl3pPr marL="9144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10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3pPr>
            <a:lvl4pPr marL="13716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05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4pPr>
            <a:lvl5pPr marL="18288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05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2D7AAE23-FB81-344D-9421-B420B52CB8F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102600" y="1860370"/>
            <a:ext cx="2882900" cy="402114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800" b="0" i="0">
                <a:solidFill>
                  <a:schemeClr val="bg1"/>
                </a:solidFill>
                <a:latin typeface="SB Serif Display" panose="02000503000000020004" pitchFamily="2" charset="77"/>
                <a:cs typeface="SB Serif Display" panose="02000503000000020004" pitchFamily="2" charset="77"/>
              </a:defRPr>
            </a:lvl1pPr>
            <a:lvl2pPr marL="4572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800">
                <a:latin typeface="SB Sans Text" panose="020B0503040504020204" pitchFamily="34" charset="77"/>
                <a:cs typeface="SB Sans Text" panose="020B0503040504020204" pitchFamily="34" charset="77"/>
              </a:defRPr>
            </a:lvl2pPr>
            <a:lvl3pPr marL="9144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800">
                <a:latin typeface="SB Sans Text" panose="020B0503040504020204" pitchFamily="34" charset="77"/>
                <a:cs typeface="SB Sans Text" panose="020B0503040504020204" pitchFamily="34" charset="77"/>
              </a:defRPr>
            </a:lvl3pPr>
            <a:lvl4pPr marL="13716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800">
                <a:latin typeface="SB Sans Text" panose="020B0503040504020204" pitchFamily="34" charset="77"/>
                <a:cs typeface="SB Sans Text" panose="020B0503040504020204" pitchFamily="34" charset="77"/>
              </a:defRPr>
            </a:lvl4pPr>
            <a:lvl5pPr marL="18288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800">
                <a:latin typeface="SB Sans Text" panose="020B0503040504020204" pitchFamily="34" charset="77"/>
                <a:cs typeface="SB Sans Text" panose="020B0503040504020204" pitchFamily="34" charset="77"/>
              </a:defRPr>
            </a:lvl5pPr>
          </a:lstStyle>
          <a:p>
            <a:pPr lvl="0"/>
            <a:r>
              <a:rPr lang="en-US" dirty="0"/>
              <a:t>Edit Master text styles</a:t>
            </a:r>
            <a:endParaRPr lang="ru-RU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3785A9E5-742C-574E-9734-C24EC86EF7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2226" y="503596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bg1"/>
                </a:solidFill>
                <a:latin typeface="SB Serif Display" panose="02000503000000020004" pitchFamily="50" charset="-52"/>
                <a:cs typeface="SB Serif Display" panose="02000503000000020004" pitchFamily="50" charset="-52"/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FDA30490-3536-F142-80E3-5781A85DB4F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72000">
                <a:srgbClr val="063D60"/>
              </a:gs>
              <a:gs pos="100000">
                <a:srgbClr val="102853"/>
              </a:gs>
              <a:gs pos="0">
                <a:srgbClr val="009F8A"/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581113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383C8DA4-66FA-0C4A-B9C4-294394D8242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72000">
                <a:srgbClr val="063D60"/>
              </a:gs>
              <a:gs pos="100000">
                <a:srgbClr val="102853"/>
              </a:gs>
              <a:gs pos="0">
                <a:srgbClr val="009F8A"/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7D36AD7-1AB0-6945-AAAA-F2A9B6C319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74858053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5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2D5CEAA4-819F-5B40-B969-7DE37E847A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2226" y="503596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bg1"/>
                </a:solidFill>
                <a:latin typeface="SB Serif Display" panose="02000503000000020004" pitchFamily="50" charset="-52"/>
                <a:cs typeface="SB Serif Display" panose="02000503000000020004" pitchFamily="50" charset="-52"/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6B5DE7FF-E635-A040-A1DF-DE6045737D7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72000">
                <a:srgbClr val="063D60"/>
              </a:gs>
              <a:gs pos="100000">
                <a:srgbClr val="102853"/>
              </a:gs>
              <a:gs pos="0">
                <a:srgbClr val="009F8A"/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740251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F056099F-779D-6849-9957-D4D2A1E0367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145280" y="6377940"/>
            <a:ext cx="390144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ctr" defTabSz="9144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dirty="0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731BE8C3-0BA6-794C-A4D3-2F2B366F2D18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D8BD707-D9CF-40AE-B4C6-C98DA3205C09}" type="datetimeFigureOut">
              <a:rPr lang="en-US" smtClean="0"/>
              <a:pPr/>
              <a:t>10/9/2025</a:t>
            </a:fld>
            <a:endParaRPr lang="en-US" dirty="0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C50AE1E0-FC66-E546-BEF6-7BCF32ADB3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78240" y="6377940"/>
            <a:ext cx="280416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6F15528-21DE-4FAA-801E-634DDDAF4B2B}" type="slidenum">
              <a:rPr lang="en-RU" smtClean="0"/>
              <a:pPr/>
              <a:t>‹#›</a:t>
            </a:fld>
            <a:endParaRPr lang="ru-RU" dirty="0"/>
          </a:p>
        </p:txBody>
      </p:sp>
      <p:sp>
        <p:nvSpPr>
          <p:cNvPr id="10" name="bg object 16">
            <a:extLst>
              <a:ext uri="{FF2B5EF4-FFF2-40B4-BE49-F238E27FC236}">
                <a16:creationId xmlns:a16="http://schemas.microsoft.com/office/drawing/2014/main" id="{675F8155-9ACB-694C-A7F1-5E9BD01774C7}"/>
              </a:ext>
            </a:extLst>
          </p:cNvPr>
          <p:cNvSpPr/>
          <p:nvPr userDrawn="1"/>
        </p:nvSpPr>
        <p:spPr>
          <a:xfrm>
            <a:off x="0" y="0"/>
            <a:ext cx="12188952" cy="68580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1" name="bg object 16">
            <a:extLst>
              <a:ext uri="{FF2B5EF4-FFF2-40B4-BE49-F238E27FC236}">
                <a16:creationId xmlns:a16="http://schemas.microsoft.com/office/drawing/2014/main" id="{9FB89254-B9B3-2745-8A44-6FD08AE093E6}"/>
              </a:ext>
            </a:extLst>
          </p:cNvPr>
          <p:cNvSpPr/>
          <p:nvPr userDrawn="1"/>
        </p:nvSpPr>
        <p:spPr>
          <a:xfrm rot="10800000">
            <a:off x="3048" y="0"/>
            <a:ext cx="12188952" cy="6858000"/>
          </a:xfrm>
          <a:prstGeom prst="rect">
            <a:avLst/>
          </a:prstGeom>
          <a:blipFill dpi="0" rotWithShape="1">
            <a:blip r:embed="rId2" cstate="print">
              <a:alphaModFix amt="30000"/>
            </a:blip>
            <a:srcRect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72575494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8493322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3077255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6B5DE7FF-E635-A040-A1DF-DE6045737D7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72000">
                <a:srgbClr val="063D60"/>
              </a:gs>
              <a:gs pos="100000">
                <a:srgbClr val="102853"/>
              </a:gs>
              <a:gs pos="0">
                <a:srgbClr val="009F8A"/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19258" b="31255"/>
          <a:stretch/>
        </p:blipFill>
        <p:spPr>
          <a:xfrm>
            <a:off x="7736842" y="4873746"/>
            <a:ext cx="4463868" cy="19711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654274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6221665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1560575" y="0"/>
            <a:ext cx="10628376" cy="169163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704443" y="257555"/>
            <a:ext cx="10783112" cy="6959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r>
              <a:rPr lang="ru-RU"/>
              <a:t>Образец подзаголовка</a:t>
            </a:r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0/9/2025</a:t>
            </a:fld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94964505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685800" y="2667000"/>
            <a:ext cx="7493328" cy="1933575"/>
          </a:xfrm>
          <a:prstGeom prst="rect">
            <a:avLst/>
          </a:prstGeom>
        </p:spPr>
        <p:txBody>
          <a:bodyPr lIns="0" tIns="0" rIns="0" bIns="0"/>
          <a:lstStyle>
            <a:lvl1pPr>
              <a:defRPr sz="6600" b="0" i="0">
                <a:solidFill>
                  <a:schemeClr val="tx1"/>
                </a:solidFill>
                <a:latin typeface="SBSansDisplay-Light"/>
                <a:cs typeface="SBSansDisplay-Light"/>
              </a:defRPr>
            </a:lvl1pPr>
          </a:lstStyle>
          <a:p>
            <a:r>
              <a:rPr lang="ru-RU"/>
              <a:t>Образец заголовка</a:t>
            </a:r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609600" y="1577340"/>
            <a:ext cx="10972800" cy="4526280"/>
          </a:xfrm>
          <a:prstGeom prst="rect">
            <a:avLst/>
          </a:prstGeo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0/9/2025</a:t>
            </a:fld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11696441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6378CDBB-4100-814D-8680-E419C0E3CE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-310445" y="310446"/>
            <a:ext cx="6858001" cy="623711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4D069B2B-3053-2644-9880-8016D6556F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5703" y="365291"/>
            <a:ext cx="10728324" cy="1325563"/>
          </a:xfrm>
          <a:prstGeom prst="rect">
            <a:avLst/>
          </a:prstGeom>
        </p:spPr>
        <p:txBody>
          <a:bodyPr/>
          <a:lstStyle>
            <a:lvl1pPr algn="l">
              <a:defRPr sz="4400" b="0" i="0">
                <a:solidFill>
                  <a:schemeClr val="tx1"/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9" name="Скругленный прямоугольник 8">
            <a:extLst>
              <a:ext uri="{FF2B5EF4-FFF2-40B4-BE49-F238E27FC236}">
                <a16:creationId xmlns:a16="http://schemas.microsoft.com/office/drawing/2014/main" id="{213670A6-12D8-E047-BDFE-50054B487820}"/>
              </a:ext>
            </a:extLst>
          </p:cNvPr>
          <p:cNvSpPr/>
          <p:nvPr userDrawn="1"/>
        </p:nvSpPr>
        <p:spPr>
          <a:xfrm>
            <a:off x="5618214" y="1143000"/>
            <a:ext cx="2489200" cy="5334000"/>
          </a:xfrm>
          <a:prstGeom prst="roundRect">
            <a:avLst>
              <a:gd name="adj" fmla="val 1035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5BC2252A-62EB-6E41-B777-F9CBB31BE00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0558" y="911677"/>
            <a:ext cx="2991442" cy="57966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950269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ject 2">
            <a:extLst>
              <a:ext uri="{FF2B5EF4-FFF2-40B4-BE49-F238E27FC236}">
                <a16:creationId xmlns:a16="http://schemas.microsoft.com/office/drawing/2014/main" id="{156AC3C8-734E-4045-B89A-44760BA4F8CD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8" name="Скругленный прямоугольник 7">
            <a:extLst>
              <a:ext uri="{FF2B5EF4-FFF2-40B4-BE49-F238E27FC236}">
                <a16:creationId xmlns:a16="http://schemas.microsoft.com/office/drawing/2014/main" id="{EFE457F0-9EC1-B648-98E2-A72A597FE8E2}"/>
              </a:ext>
            </a:extLst>
          </p:cNvPr>
          <p:cNvSpPr/>
          <p:nvPr userDrawn="1"/>
        </p:nvSpPr>
        <p:spPr>
          <a:xfrm>
            <a:off x="1930400" y="812618"/>
            <a:ext cx="2489200" cy="5334000"/>
          </a:xfrm>
          <a:prstGeom prst="roundRect">
            <a:avLst>
              <a:gd name="adj" fmla="val 1035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5BC2252A-62EB-6E41-B777-F9CBB31BE00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56758" y="530677"/>
            <a:ext cx="2991442" cy="57966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281075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7580B0BA-E596-8540-B486-F747F0C3AA5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72000">
                <a:srgbClr val="063D60"/>
              </a:gs>
              <a:gs pos="100000">
                <a:srgbClr val="102853"/>
              </a:gs>
              <a:gs pos="0">
                <a:srgbClr val="009F8A"/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77798090-64AE-374F-A5DC-E861110F0A7E}"/>
              </a:ext>
            </a:extLst>
          </p:cNvPr>
          <p:cNvSpPr/>
          <p:nvPr userDrawn="1"/>
        </p:nvSpPr>
        <p:spPr>
          <a:xfrm rot="10800000">
            <a:off x="1862666" y="801511"/>
            <a:ext cx="2528712" cy="5260622"/>
          </a:xfrm>
          <a:prstGeom prst="rect">
            <a:avLst/>
          </a:prstGeom>
          <a:gradFill>
            <a:gsLst>
              <a:gs pos="72000">
                <a:srgbClr val="063D60"/>
              </a:gs>
              <a:gs pos="100000">
                <a:srgbClr val="102853"/>
              </a:gs>
              <a:gs pos="0">
                <a:srgbClr val="009F8A"/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9868D7AA-469A-F449-8BDE-ABB87DCA4B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4696" y="530677"/>
            <a:ext cx="2991442" cy="57966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277021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>
            <a:extLst>
              <a:ext uri="{FF2B5EF4-FFF2-40B4-BE49-F238E27FC236}">
                <a16:creationId xmlns:a16="http://schemas.microsoft.com/office/drawing/2014/main" id="{1BA24CAD-70A1-B04B-9D3D-3902DA54A76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5644443" y="310447"/>
            <a:ext cx="6858001" cy="6237110"/>
          </a:xfrm>
          <a:prstGeom prst="rect">
            <a:avLst/>
          </a:prstGeom>
        </p:spPr>
      </p:pic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1ED7132D-C201-284B-A6F1-5D01ED6A088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894A2103-1B50-014C-B03C-6813F61D13EA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t>10/9/2025</a:t>
            </a:fld>
            <a:endParaRPr lang="en-US" dirty="0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140850F9-3768-4B48-BECE-9D826ABC7E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ru-RU" smtClean="0"/>
              <a:t>‹#›</a:t>
            </a:fld>
            <a:endParaRPr lang="ru-RU" dirty="0"/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3576E93F-3847-BD47-9709-0A15A1766E2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03912" y="711770"/>
            <a:ext cx="4135483" cy="5644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277955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>
            <a:extLst>
              <a:ext uri="{FF2B5EF4-FFF2-40B4-BE49-F238E27FC236}">
                <a16:creationId xmlns:a16="http://schemas.microsoft.com/office/drawing/2014/main" id="{1BA24CAD-70A1-B04B-9D3D-3902DA54A76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5644443" y="310447"/>
            <a:ext cx="6858001" cy="6237110"/>
          </a:xfrm>
          <a:prstGeom prst="rect">
            <a:avLst/>
          </a:prstGeom>
        </p:spPr>
      </p:pic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1ED7132D-C201-284B-A6F1-5D01ED6A088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894A2103-1B50-014C-B03C-6813F61D13EA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t>10/9/2025</a:t>
            </a:fld>
            <a:endParaRPr lang="en-US" dirty="0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140850F9-3768-4B48-BECE-9D826ABC7E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ru-RU" smtClean="0"/>
              <a:t>‹#›</a:t>
            </a:fld>
            <a:endParaRPr lang="ru-RU" dirty="0"/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0498834D-82AD-7448-B364-0B385967E17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4282" y="1226799"/>
            <a:ext cx="8126494" cy="46285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936207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88952" cy="1655064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0/9/2025</a:t>
            </a:fld>
            <a:endParaRPr lang="en-US" dirty="0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95121290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88952" cy="6858000"/>
          </a:xfrm>
          <a:prstGeom prst="rect">
            <a:avLst/>
          </a:prstGeom>
          <a:blipFill>
            <a:blip r:embed="rId2" cstate="print"/>
            <a:stretch>
              <a:fillRect b="-2222"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685800" y="2667000"/>
            <a:ext cx="7493328" cy="1933575"/>
          </a:xfrm>
          <a:prstGeom prst="rect">
            <a:avLst/>
          </a:prstGeom>
        </p:spPr>
        <p:txBody>
          <a:bodyPr lIns="0" tIns="0" rIns="0" bIns="0"/>
          <a:lstStyle>
            <a:lvl1pPr>
              <a:defRPr sz="6600" b="0" i="0">
                <a:solidFill>
                  <a:schemeClr val="tx1"/>
                </a:solidFill>
                <a:latin typeface="SBSansDisplay-Light"/>
                <a:cs typeface="SBSansDisplay-Light"/>
              </a:defRPr>
            </a:lvl1pPr>
          </a:lstStyle>
          <a:p>
            <a:r>
              <a:rPr lang="ru-RU"/>
              <a:t>Образец заголовка</a:t>
            </a:r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0/9/20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372181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 rot="10800000">
            <a:off x="0" y="0"/>
            <a:ext cx="12188952" cy="26670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685800" y="2667000"/>
            <a:ext cx="7493328" cy="1933575"/>
          </a:xfrm>
          <a:prstGeom prst="rect">
            <a:avLst/>
          </a:prstGeom>
        </p:spPr>
        <p:txBody>
          <a:bodyPr lIns="0" tIns="0" rIns="0" bIns="0"/>
          <a:lstStyle>
            <a:lvl1pPr>
              <a:defRPr sz="6600" b="0" i="0">
                <a:solidFill>
                  <a:schemeClr val="tx1"/>
                </a:solidFill>
                <a:latin typeface="SBSansDisplay-Light"/>
                <a:cs typeface="SBSansDisplay-Light"/>
              </a:defRPr>
            </a:lvl1pPr>
          </a:lstStyle>
          <a:p>
            <a:r>
              <a:rPr lang="ru-RU"/>
              <a:t>Образец заголовка</a:t>
            </a:r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0/9/2025</a:t>
            </a:fld>
            <a:endParaRPr lang="en-US" dirty="0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t>‹#›</a:t>
            </a:fld>
            <a:endParaRPr dirty="0"/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388616B5-D785-FC4C-95DF-D9C31A71424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81" t="33333" r="20791" b="33333"/>
          <a:stretch/>
        </p:blipFill>
        <p:spPr>
          <a:xfrm>
            <a:off x="685800" y="685800"/>
            <a:ext cx="1676400" cy="533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361582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4226560"/>
            <a:ext cx="12188952" cy="26670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685800" y="2667000"/>
            <a:ext cx="7493328" cy="1933575"/>
          </a:xfrm>
          <a:prstGeom prst="rect">
            <a:avLst/>
          </a:prstGeom>
        </p:spPr>
        <p:txBody>
          <a:bodyPr lIns="0" tIns="0" rIns="0" bIns="0"/>
          <a:lstStyle>
            <a:lvl1pPr>
              <a:defRPr sz="6600" b="0" i="0">
                <a:solidFill>
                  <a:schemeClr val="tx1"/>
                </a:solidFill>
                <a:latin typeface="SBSansDisplay-Light"/>
                <a:cs typeface="SBSansDisplay-Light"/>
              </a:defRPr>
            </a:lvl1pPr>
          </a:lstStyle>
          <a:p>
            <a:r>
              <a:rPr lang="ru-RU"/>
              <a:t>Образец заголовка</a:t>
            </a:r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0/9/2025</a:t>
            </a:fld>
            <a:endParaRPr lang="en-US" dirty="0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37651741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F056099F-779D-6849-9957-D4D2A1E0367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731BE8C3-0BA6-794C-A4D3-2F2B366F2D18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t>10/9/2025</a:t>
            </a:fld>
            <a:endParaRPr lang="en-US" dirty="0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C50AE1E0-FC66-E546-BEF6-7BCF32ADB3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ru-RU" smtClean="0"/>
              <a:t>‹#›</a:t>
            </a:fld>
            <a:endParaRPr lang="ru-RU" dirty="0"/>
          </a:p>
        </p:txBody>
      </p:sp>
      <p:sp>
        <p:nvSpPr>
          <p:cNvPr id="10" name="bg object 16">
            <a:extLst>
              <a:ext uri="{FF2B5EF4-FFF2-40B4-BE49-F238E27FC236}">
                <a16:creationId xmlns:a16="http://schemas.microsoft.com/office/drawing/2014/main" id="{675F8155-9ACB-694C-A7F1-5E9BD01774C7}"/>
              </a:ext>
            </a:extLst>
          </p:cNvPr>
          <p:cNvSpPr/>
          <p:nvPr userDrawn="1"/>
        </p:nvSpPr>
        <p:spPr>
          <a:xfrm>
            <a:off x="0" y="0"/>
            <a:ext cx="12188952" cy="68580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1" name="bg object 16">
            <a:extLst>
              <a:ext uri="{FF2B5EF4-FFF2-40B4-BE49-F238E27FC236}">
                <a16:creationId xmlns:a16="http://schemas.microsoft.com/office/drawing/2014/main" id="{9FB89254-B9B3-2745-8A44-6FD08AE093E6}"/>
              </a:ext>
            </a:extLst>
          </p:cNvPr>
          <p:cNvSpPr/>
          <p:nvPr userDrawn="1"/>
        </p:nvSpPr>
        <p:spPr>
          <a:xfrm rot="10800000">
            <a:off x="3048" y="0"/>
            <a:ext cx="12188952" cy="6858000"/>
          </a:xfrm>
          <a:prstGeom prst="rect">
            <a:avLst/>
          </a:prstGeom>
          <a:blipFill dpi="0" rotWithShape="1">
            <a:blip r:embed="rId2" cstate="print">
              <a:alphaModFix amt="30000"/>
            </a:blip>
            <a:srcRect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0519507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2">
            <a:extLst>
              <a:ext uri="{FF2B5EF4-FFF2-40B4-BE49-F238E27FC236}">
                <a16:creationId xmlns:a16="http://schemas.microsoft.com/office/drawing/2014/main" id="{209F203A-D972-6A44-B462-788739BB69C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12C0EF28-9E55-3144-9234-57C2B61DD22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18657E6F-767D-6E49-83FD-BB4CBA2E5E43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t>10/9/2025</a:t>
            </a:fld>
            <a:endParaRPr lang="en-US" dirty="0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F2981B4B-4B82-6C49-AC8F-9309986E84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1449383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A8280FC4-AD29-EF48-9BC4-21105D6B2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3F1B9857-F13C-C847-9AA5-12EF95C8C5A9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t>10/9/2025</a:t>
            </a:fld>
            <a:endParaRPr lang="en-US" dirty="0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D1504380-7C72-F148-9391-780956D658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ru-RU" smtClean="0"/>
              <a:t>‹#›</a:t>
            </a:fld>
            <a:endParaRPr lang="ru-RU" dirty="0"/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34DED942-AC15-244D-B182-8AF2D44FB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244" t="29959" r="23998" b="14575"/>
          <a:stretch/>
        </p:blipFill>
        <p:spPr>
          <a:xfrm rot="427144" flipH="1">
            <a:off x="525582" y="-542919"/>
            <a:ext cx="12670191" cy="84673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151110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0/9/2025</a:t>
            </a:fld>
            <a:endParaRPr lang="en-US" dirty="0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84174456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7E43891C-D2E9-4E47-B39A-50897C511C1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72000">
                <a:srgbClr val="063D60"/>
              </a:gs>
              <a:gs pos="100000">
                <a:srgbClr val="102853"/>
              </a:gs>
              <a:gs pos="0">
                <a:srgbClr val="009F8A"/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7E9ED42B-06C9-E743-852A-04ED23B013C3}"/>
              </a:ext>
            </a:extLst>
          </p:cNvPr>
          <p:cNvSpPr/>
          <p:nvPr userDrawn="1"/>
        </p:nvSpPr>
        <p:spPr>
          <a:xfrm rot="10800000">
            <a:off x="6096000" y="801511"/>
            <a:ext cx="2528712" cy="5260622"/>
          </a:xfrm>
          <a:prstGeom prst="rect">
            <a:avLst/>
          </a:prstGeom>
          <a:gradFill>
            <a:gsLst>
              <a:gs pos="72000">
                <a:srgbClr val="063D60"/>
              </a:gs>
              <a:gs pos="100000">
                <a:srgbClr val="102853"/>
              </a:gs>
              <a:gs pos="0">
                <a:srgbClr val="009F8A"/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09DB52A2-F7F1-9C4D-9A6E-2CC74FBD6AB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4635" y="530677"/>
            <a:ext cx="2991442" cy="57966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95546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3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378CDBB-4100-814D-8680-E419C0E3CE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5644443" y="310447"/>
            <a:ext cx="6858001" cy="6237110"/>
          </a:xfrm>
          <a:prstGeom prst="rect">
            <a:avLst/>
          </a:prstGeom>
        </p:spPr>
      </p:pic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4076BCEE-4692-634B-A63B-DD99E1048B6B}"/>
              </a:ext>
            </a:extLst>
          </p:cNvPr>
          <p:cNvSpPr txBox="1">
            <a:spLocks/>
          </p:cNvSpPr>
          <p:nvPr userDrawn="1"/>
        </p:nvSpPr>
        <p:spPr>
          <a:xfrm>
            <a:off x="9210368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b="0" i="0" kern="1200">
                <a:solidFill>
                  <a:schemeClr val="tx1">
                    <a:tint val="75000"/>
                  </a:schemeClr>
                </a:solidFill>
                <a:latin typeface="SB Sans Display Regular" panose="020B050304050402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5FE8ADF-25A3-4B39-A1EB-43B990C73963}" type="slidenum">
              <a:rPr lang="ru-RU" b="0" i="0" smtClean="0">
                <a:solidFill>
                  <a:schemeClr val="bg1"/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pPr/>
              <a:t>‹#›</a:t>
            </a:fld>
            <a:endParaRPr lang="ru-RU" b="0" i="0" dirty="0">
              <a:solidFill>
                <a:schemeClr val="bg1"/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EBCB19BE-EBCE-3D42-A5F8-C409CB4A3B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5703" y="365291"/>
            <a:ext cx="10728324" cy="1325563"/>
          </a:xfrm>
          <a:prstGeom prst="rect">
            <a:avLst/>
          </a:prstGeom>
        </p:spPr>
        <p:txBody>
          <a:bodyPr/>
          <a:lstStyle>
            <a:lvl1pPr algn="l">
              <a:defRPr sz="4400" b="0" i="0">
                <a:solidFill>
                  <a:schemeClr val="tx1"/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095680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6378CDBB-4100-814D-8680-E419C0E3CE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-310445" y="310446"/>
            <a:ext cx="6858001" cy="6237110"/>
          </a:xfrm>
          <a:prstGeom prst="rect">
            <a:avLst/>
          </a:prstGeom>
        </p:spPr>
      </p:pic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5892800" y="0"/>
            <a:ext cx="6299200" cy="6858000"/>
          </a:xfrm>
          <a:prstGeom prst="rect">
            <a:avLst/>
          </a:prstGeom>
        </p:spPr>
        <p:txBody>
          <a:bodyPr vert="horz"/>
          <a:lstStyle/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4D069B2B-3053-2644-9880-8016D6556F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5703" y="365291"/>
            <a:ext cx="10728324" cy="1325563"/>
          </a:xfrm>
          <a:prstGeom prst="rect">
            <a:avLst/>
          </a:prstGeom>
        </p:spPr>
        <p:txBody>
          <a:bodyPr/>
          <a:lstStyle>
            <a:lvl1pPr algn="l">
              <a:defRPr sz="4400" b="0" i="0">
                <a:solidFill>
                  <a:schemeClr val="tx1"/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2115639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BADD8343-5F58-254F-A13A-CB138B5B3D2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72000">
                <a:srgbClr val="063D60"/>
              </a:gs>
              <a:gs pos="100000">
                <a:srgbClr val="102853"/>
              </a:gs>
              <a:gs pos="0">
                <a:srgbClr val="009F8A"/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89A2B80D-311F-D042-86AB-C8200D7130E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03912" y="711770"/>
            <a:ext cx="4135483" cy="5644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076612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31BD5DA9-EEE2-6D47-8773-9172C8781E7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72000">
                <a:srgbClr val="063D60"/>
              </a:gs>
              <a:gs pos="100000">
                <a:srgbClr val="102853"/>
              </a:gs>
              <a:gs pos="0">
                <a:srgbClr val="009F8A"/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098A0610-D36C-3E44-8C1B-A5CFD059304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4282" y="1226799"/>
            <a:ext cx="8126494" cy="46285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321682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2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0F4AA5DE-80FE-C145-9573-993AA70946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2226" y="503596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bg1"/>
                </a:solidFill>
                <a:latin typeface="SB Serif Display" panose="02000503000000020004" pitchFamily="50" charset="-52"/>
                <a:cs typeface="SB Serif Display" panose="02000503000000020004" pitchFamily="50" charset="-52"/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DE47B36B-61BD-0C48-A64C-7B20D2FB1AC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72000">
                <a:srgbClr val="063D60"/>
              </a:gs>
              <a:gs pos="100000">
                <a:srgbClr val="102853"/>
              </a:gs>
              <a:gs pos="0">
                <a:srgbClr val="009F8A"/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079" r="873" b="3774"/>
          <a:stretch/>
        </p:blipFill>
        <p:spPr>
          <a:xfrm rot="13771779">
            <a:off x="8037527" y="-642313"/>
            <a:ext cx="5682551" cy="3456622"/>
          </a:xfrm>
          <a:custGeom>
            <a:avLst/>
            <a:gdLst>
              <a:gd name="connsiteX0" fmla="*/ 4782236 w 4782236"/>
              <a:gd name="connsiteY0" fmla="*/ 0 h 2908972"/>
              <a:gd name="connsiteX1" fmla="*/ 2300341 w 4782236"/>
              <a:gd name="connsiteY1" fmla="*/ 2908972 h 2908972"/>
              <a:gd name="connsiteX2" fmla="*/ 0 w 4782236"/>
              <a:gd name="connsiteY2" fmla="*/ 946353 h 2908972"/>
              <a:gd name="connsiteX3" fmla="*/ 807415 w 4782236"/>
              <a:gd name="connsiteY3" fmla="*/ 0 h 2908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82236" h="2908972">
                <a:moveTo>
                  <a:pt x="4782236" y="0"/>
                </a:moveTo>
                <a:lnTo>
                  <a:pt x="2300341" y="2908972"/>
                </a:lnTo>
                <a:lnTo>
                  <a:pt x="0" y="946353"/>
                </a:lnTo>
                <a:lnTo>
                  <a:pt x="807415" y="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2034884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7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B1A4D9-F9F8-B841-83FC-B488675FB2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4696" y="1766758"/>
            <a:ext cx="5138555" cy="1325563"/>
          </a:xfrm>
          <a:prstGeom prst="rect">
            <a:avLst/>
          </a:prstGeom>
        </p:spPr>
        <p:txBody>
          <a:bodyPr anchor="t" anchorCtr="0"/>
          <a:lstStyle>
            <a:lvl1pPr algn="l">
              <a:defRPr>
                <a:solidFill>
                  <a:schemeClr val="bg1"/>
                </a:solidFill>
                <a:latin typeface="SB Serif Display" panose="02000503000000020004" pitchFamily="50" charset="-52"/>
                <a:cs typeface="SB Serif Display" panose="02000503000000020004" pitchFamily="50" charset="-52"/>
              </a:defRPr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4076BCEE-4692-634B-A63B-DD99E1048B6B}"/>
              </a:ext>
            </a:extLst>
          </p:cNvPr>
          <p:cNvSpPr txBox="1">
            <a:spLocks/>
          </p:cNvSpPr>
          <p:nvPr userDrawn="1"/>
        </p:nvSpPr>
        <p:spPr>
          <a:xfrm>
            <a:off x="9210368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b="0" i="0" kern="1200">
                <a:solidFill>
                  <a:schemeClr val="tx1">
                    <a:tint val="75000"/>
                  </a:schemeClr>
                </a:solidFill>
                <a:latin typeface="SB Sans Display Regular" panose="020B050304050402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5FE8ADF-25A3-4B39-A1EB-43B990C73963}" type="slidenum">
              <a:rPr lang="ru-RU" smtClean="0">
                <a:solidFill>
                  <a:schemeClr val="bg1"/>
                </a:solidFill>
                <a:latin typeface="SB Serif Display" panose="02000503000000020004" pitchFamily="50" charset="-52"/>
                <a:cs typeface="SB Serif Display" panose="02000503000000020004" pitchFamily="50" charset="-52"/>
              </a:rPr>
              <a:pPr/>
              <a:t>‹#›</a:t>
            </a:fld>
            <a:endParaRPr lang="ru-RU" dirty="0">
              <a:solidFill>
                <a:schemeClr val="bg1"/>
              </a:solidFill>
              <a:latin typeface="SB Serif Display" panose="02000503000000020004" pitchFamily="50" charset="-52"/>
              <a:cs typeface="SB Serif Display" panose="02000503000000020004" pitchFamily="50" charset="-52"/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5391B870-19B2-CE40-B8E2-DDC2129A79A3}"/>
              </a:ext>
            </a:extLst>
          </p:cNvPr>
          <p:cNvSpPr/>
          <p:nvPr userDrawn="1"/>
        </p:nvSpPr>
        <p:spPr>
          <a:xfrm>
            <a:off x="0" y="0"/>
            <a:ext cx="7409468" cy="6858000"/>
          </a:xfrm>
          <a:prstGeom prst="rect">
            <a:avLst/>
          </a:prstGeom>
          <a:gradFill>
            <a:gsLst>
              <a:gs pos="72000">
                <a:srgbClr val="063D60"/>
              </a:gs>
              <a:gs pos="100000">
                <a:srgbClr val="102853"/>
              </a:gs>
              <a:gs pos="0">
                <a:srgbClr val="009F8A"/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8169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.xml"/></Relationships>
</file>

<file path=ppt/slideMasters/_rels/slideMaster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13" Type="http://schemas.openxmlformats.org/officeDocument/2006/relationships/slideLayout" Target="../slideLayouts/slideLayout15.xml"/><Relationship Id="rId3" Type="http://schemas.openxmlformats.org/officeDocument/2006/relationships/slideLayout" Target="../slideLayouts/slideLayout5.xml"/><Relationship Id="rId7" Type="http://schemas.openxmlformats.org/officeDocument/2006/relationships/slideLayout" Target="../slideLayouts/slideLayout9.xml"/><Relationship Id="rId12" Type="http://schemas.openxmlformats.org/officeDocument/2006/relationships/slideLayout" Target="../slideLayouts/slideLayout14.xml"/><Relationship Id="rId17" Type="http://schemas.openxmlformats.org/officeDocument/2006/relationships/theme" Target="../theme/theme7.xml"/><Relationship Id="rId2" Type="http://schemas.openxmlformats.org/officeDocument/2006/relationships/slideLayout" Target="../slideLayouts/slideLayout4.xml"/><Relationship Id="rId16" Type="http://schemas.openxmlformats.org/officeDocument/2006/relationships/slideLayout" Target="../slideLayouts/slideLayout18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5" Type="http://schemas.openxmlformats.org/officeDocument/2006/relationships/slideLayout" Target="../slideLayouts/slideLayout7.xml"/><Relationship Id="rId1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12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Relationship Id="rId14" Type="http://schemas.openxmlformats.org/officeDocument/2006/relationships/slideLayout" Target="../slideLayouts/slideLayout16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slideLayout" Target="../slideLayouts/slideLayout31.xml"/><Relationship Id="rId18" Type="http://schemas.openxmlformats.org/officeDocument/2006/relationships/theme" Target="../theme/theme8.x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17" Type="http://schemas.openxmlformats.org/officeDocument/2006/relationships/slideLayout" Target="../slideLayouts/slideLayout35.xml"/><Relationship Id="rId2" Type="http://schemas.openxmlformats.org/officeDocument/2006/relationships/slideLayout" Target="../slideLayouts/slideLayout20.xml"/><Relationship Id="rId16" Type="http://schemas.openxmlformats.org/officeDocument/2006/relationships/slideLayout" Target="../slideLayouts/slideLayout34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3.xml"/><Relationship Id="rId15" Type="http://schemas.openxmlformats.org/officeDocument/2006/relationships/slideLayout" Target="../slideLayouts/slideLayout33.xml"/><Relationship Id="rId10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32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slideLayout" Target="../slideLayouts/slideLayout48.xml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47.xml"/><Relationship Id="rId17" Type="http://schemas.openxmlformats.org/officeDocument/2006/relationships/theme" Target="../theme/theme9.xml"/><Relationship Id="rId2" Type="http://schemas.openxmlformats.org/officeDocument/2006/relationships/slideLayout" Target="../slideLayouts/slideLayout37.xml"/><Relationship Id="rId16" Type="http://schemas.openxmlformats.org/officeDocument/2006/relationships/slideLayout" Target="../slideLayouts/slideLayout51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5" Type="http://schemas.openxmlformats.org/officeDocument/2006/relationships/slideLayout" Target="../slideLayouts/slideLayout40.xml"/><Relationship Id="rId15" Type="http://schemas.openxmlformats.org/officeDocument/2006/relationships/slideLayout" Target="../slideLayouts/slideLayout50.xml"/><Relationship Id="rId10" Type="http://schemas.openxmlformats.org/officeDocument/2006/relationships/slideLayout" Target="../slideLayouts/slideLayout45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slideLayout" Target="../slideLayouts/slideLayout4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880" y="6444537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7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444537"/>
            <a:ext cx="41148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7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6920" y="6451547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867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7"/>
            <a:fld id="{41313719-8C68-A548-A392-62A6EB106E0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14377"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Изображение 9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12272" y="1"/>
            <a:ext cx="1218352" cy="11928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7873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</p:sldLayoutIdLst>
  <p:hf sldNum="0" hdr="0" ftr="0" dt="0"/>
  <p:txStyles>
    <p:titleStyle>
      <a:lvl1pPr algn="l" defTabSz="1219170" rtl="0" eaLnBrk="1" latinLnBrk="0" hangingPunct="1">
        <a:lnSpc>
          <a:spcPct val="90000"/>
        </a:lnSpc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04792" indent="-304792" algn="l" defTabSz="1219170" rtl="0" eaLnBrk="1" latinLnBrk="0" hangingPunct="1">
        <a:lnSpc>
          <a:spcPct val="90000"/>
        </a:lnSpc>
        <a:spcBef>
          <a:spcPts val="1333"/>
        </a:spcBef>
        <a:buFont typeface="Arial"/>
        <a:buChar char="•"/>
        <a:defRPr sz="3733" kern="1200">
          <a:solidFill>
            <a:schemeClr val="tx1"/>
          </a:solidFill>
          <a:latin typeface="+mn-lt"/>
          <a:ea typeface="+mn-ea"/>
          <a:cs typeface="+mn-cs"/>
        </a:defRPr>
      </a:lvl1pPr>
      <a:lvl2pPr marL="914377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880" y="6444537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7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444537"/>
            <a:ext cx="41148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7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6920" y="6451547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867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7"/>
            <a:fld id="{41313719-8C68-A548-A392-62A6EB106E0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14377"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Изображение 9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12272" y="1"/>
            <a:ext cx="1218352" cy="11928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49979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</p:sldLayoutIdLst>
  <p:hf sldNum="0" hdr="0" ftr="0" dt="0"/>
  <p:txStyles>
    <p:titleStyle>
      <a:lvl1pPr algn="l" defTabSz="1219170" rtl="0" eaLnBrk="1" latinLnBrk="0" hangingPunct="1">
        <a:lnSpc>
          <a:spcPct val="90000"/>
        </a:lnSpc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04792" indent="-304792" algn="l" defTabSz="1219170" rtl="0" eaLnBrk="1" latinLnBrk="0" hangingPunct="1">
        <a:lnSpc>
          <a:spcPct val="90000"/>
        </a:lnSpc>
        <a:spcBef>
          <a:spcPts val="1333"/>
        </a:spcBef>
        <a:buFont typeface="Arial"/>
        <a:buChar char="•"/>
        <a:defRPr sz="3733" kern="1200">
          <a:solidFill>
            <a:schemeClr val="tx1"/>
          </a:solidFill>
          <a:latin typeface="+mn-lt"/>
          <a:ea typeface="+mn-ea"/>
          <a:cs typeface="+mn-cs"/>
        </a:defRPr>
      </a:lvl1pPr>
      <a:lvl2pPr marL="914377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880" y="6444537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7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444537"/>
            <a:ext cx="41148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7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6920" y="6451547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867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7"/>
            <a:fld id="{41313719-8C68-A548-A392-62A6EB106E0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14377"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Изображение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12272" y="1"/>
            <a:ext cx="1218352" cy="11928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0616182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txStyles>
    <p:titleStyle>
      <a:lvl1pPr algn="l" defTabSz="1219170" rtl="0" eaLnBrk="1" latinLnBrk="0" hangingPunct="1">
        <a:lnSpc>
          <a:spcPct val="90000"/>
        </a:lnSpc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04792" indent="-304792" algn="l" defTabSz="1219170" rtl="0" eaLnBrk="1" latinLnBrk="0" hangingPunct="1">
        <a:lnSpc>
          <a:spcPct val="90000"/>
        </a:lnSpc>
        <a:spcBef>
          <a:spcPts val="1333"/>
        </a:spcBef>
        <a:buFont typeface="Arial"/>
        <a:buChar char="•"/>
        <a:defRPr sz="3733" kern="1200">
          <a:solidFill>
            <a:schemeClr val="tx1"/>
          </a:solidFill>
          <a:latin typeface="+mn-lt"/>
          <a:ea typeface="+mn-ea"/>
          <a:cs typeface="+mn-cs"/>
        </a:defRPr>
      </a:lvl1pPr>
      <a:lvl2pPr marL="914377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880" y="6444537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7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444537"/>
            <a:ext cx="41148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7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6920" y="6451547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867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7"/>
            <a:fld id="{41313719-8C68-A548-A392-62A6EB106E0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14377"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Изображение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12272" y="1"/>
            <a:ext cx="1218352" cy="11928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0715341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txStyles>
    <p:titleStyle>
      <a:lvl1pPr algn="l" defTabSz="1219170" rtl="0" eaLnBrk="1" latinLnBrk="0" hangingPunct="1">
        <a:lnSpc>
          <a:spcPct val="90000"/>
        </a:lnSpc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04792" indent="-304792" algn="l" defTabSz="1219170" rtl="0" eaLnBrk="1" latinLnBrk="0" hangingPunct="1">
        <a:lnSpc>
          <a:spcPct val="90000"/>
        </a:lnSpc>
        <a:spcBef>
          <a:spcPts val="1333"/>
        </a:spcBef>
        <a:buFont typeface="Arial"/>
        <a:buChar char="•"/>
        <a:defRPr sz="3733" kern="1200">
          <a:solidFill>
            <a:schemeClr val="tx1"/>
          </a:solidFill>
          <a:latin typeface="+mn-lt"/>
          <a:ea typeface="+mn-ea"/>
          <a:cs typeface="+mn-cs"/>
        </a:defRPr>
      </a:lvl1pPr>
      <a:lvl2pPr marL="914377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880" y="6444537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7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444537"/>
            <a:ext cx="41148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7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6920" y="6451547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867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7"/>
            <a:fld id="{41313719-8C68-A548-A392-62A6EB106E0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14377"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Изображение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12272" y="1"/>
            <a:ext cx="1218352" cy="11928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5745893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txStyles>
    <p:titleStyle>
      <a:lvl1pPr algn="l" defTabSz="1219170" rtl="0" eaLnBrk="1" latinLnBrk="0" hangingPunct="1">
        <a:lnSpc>
          <a:spcPct val="90000"/>
        </a:lnSpc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04792" indent="-304792" algn="l" defTabSz="1219170" rtl="0" eaLnBrk="1" latinLnBrk="0" hangingPunct="1">
        <a:lnSpc>
          <a:spcPct val="90000"/>
        </a:lnSpc>
        <a:spcBef>
          <a:spcPts val="1333"/>
        </a:spcBef>
        <a:buFont typeface="Arial"/>
        <a:buChar char="•"/>
        <a:defRPr sz="3733" kern="1200">
          <a:solidFill>
            <a:schemeClr val="tx1"/>
          </a:solidFill>
          <a:latin typeface="+mn-lt"/>
          <a:ea typeface="+mn-ea"/>
          <a:cs typeface="+mn-cs"/>
        </a:defRPr>
      </a:lvl1pPr>
      <a:lvl2pPr marL="914377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880" y="6444537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hangingPunct="1"/>
            <a:endParaRPr lang="en-US" kern="1200" dirty="0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444537"/>
            <a:ext cx="41148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hangingPunct="1"/>
            <a:endParaRPr lang="en-US" kern="1200" dirty="0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6920" y="6451547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867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hangingPunct="1"/>
            <a:fld id="{41313719-8C68-A548-A392-62A6EB106E00}" type="slidenum">
              <a:rPr lang="en-US" kern="1200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pPr hangingPunct="1"/>
              <a:t>‹#›</a:t>
            </a:fld>
            <a:endParaRPr lang="en-US" kern="1200" dirty="0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pic>
        <p:nvPicPr>
          <p:cNvPr id="8" name="Изображение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12272" y="1"/>
            <a:ext cx="1218352" cy="11928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2605591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txStyles>
    <p:titleStyle>
      <a:lvl1pPr algn="l" defTabSz="1219170" rtl="0" eaLnBrk="1" latinLnBrk="0" hangingPunct="1">
        <a:lnSpc>
          <a:spcPct val="90000"/>
        </a:lnSpc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04792" indent="-304792" algn="l" defTabSz="1219170" rtl="0" eaLnBrk="1" latinLnBrk="0" hangingPunct="1">
        <a:lnSpc>
          <a:spcPct val="90000"/>
        </a:lnSpc>
        <a:spcBef>
          <a:spcPts val="1333"/>
        </a:spcBef>
        <a:buFont typeface="Arial"/>
        <a:buChar char="•"/>
        <a:defRPr sz="3733" kern="1200">
          <a:solidFill>
            <a:schemeClr val="tx1"/>
          </a:solidFill>
          <a:latin typeface="+mn-lt"/>
          <a:ea typeface="+mn-ea"/>
          <a:cs typeface="+mn-cs"/>
        </a:defRPr>
      </a:lvl1pPr>
      <a:lvl2pPr marL="914377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34271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  <p:sldLayoutId id="2147483698" r:id="rId7"/>
    <p:sldLayoutId id="2147483699" r:id="rId8"/>
    <p:sldLayoutId id="2147483700" r:id="rId9"/>
    <p:sldLayoutId id="2147483701" r:id="rId10"/>
    <p:sldLayoutId id="2147483702" r:id="rId11"/>
    <p:sldLayoutId id="2147483703" r:id="rId12"/>
    <p:sldLayoutId id="2147483704" r:id="rId13"/>
    <p:sldLayoutId id="2147483705" r:id="rId14"/>
    <p:sldLayoutId id="2147483706" r:id="rId15"/>
    <p:sldLayoutId id="2147483707" r:id="rId1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0" i="0" kern="1200">
          <a:solidFill>
            <a:schemeClr val="tx1"/>
          </a:solidFill>
          <a:latin typeface="SB Sans Display Regular" panose="020B050304050402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i="0" kern="1200">
          <a:solidFill>
            <a:schemeClr val="tx1"/>
          </a:solidFill>
          <a:latin typeface="SB Sans Display Regular" panose="020B0503040504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SB Sans Display Regular" panose="020B0503040504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SB Sans Display Regular" panose="020B0503040504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SB Sans Display Regular" panose="020B0503040504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SB Sans Display Regular" panose="020B0503040504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38">
          <p15:clr>
            <a:srgbClr val="F26B43"/>
          </p15:clr>
        </p15:guide>
        <p15:guide id="2" orient="horz" pos="436">
          <p15:clr>
            <a:srgbClr val="F26B43"/>
          </p15:clr>
        </p15:guide>
        <p15:guide id="3" pos="7242">
          <p15:clr>
            <a:srgbClr val="F26B43"/>
          </p15:clr>
        </p15:guide>
        <p15:guide id="4" orient="horz" pos="3884">
          <p15:clr>
            <a:srgbClr val="F26B43"/>
          </p15:clr>
        </p15:guide>
        <p15:guide id="5" orient="horz" pos="2160">
          <p15:clr>
            <a:srgbClr val="F26B43"/>
          </p15:clr>
        </p15:guide>
        <p15:guide id="6" orient="horz" pos="3521">
          <p15:clr>
            <a:srgbClr val="F26B43"/>
          </p15:clr>
        </p15:guide>
        <p15:guide id="7" orient="horz" pos="799">
          <p15:clr>
            <a:srgbClr val="F26B43"/>
          </p15:clr>
        </p15:guide>
        <p15:guide id="8" orient="horz" pos="2614">
          <p15:clr>
            <a:srgbClr val="F26B43"/>
          </p15:clr>
        </p15:guide>
        <p15:guide id="9" orient="horz" pos="1706">
          <p15:clr>
            <a:srgbClr val="F26B43"/>
          </p15:clr>
        </p15:guide>
        <p15:guide id="10" pos="3840">
          <p15:clr>
            <a:srgbClr val="F26B43"/>
          </p15:clr>
        </p15:guide>
        <p15:guide id="11" pos="2933">
          <p15:clr>
            <a:srgbClr val="F26B43"/>
          </p15:clr>
        </p15:guide>
        <p15:guide id="12" pos="2479">
          <p15:clr>
            <a:srgbClr val="F26B43"/>
          </p15:clr>
        </p15:guide>
        <p15:guide id="13" pos="2026">
          <p15:clr>
            <a:srgbClr val="F26B43"/>
          </p15:clr>
        </p15:guide>
        <p15:guide id="14" pos="1118">
          <p15:clr>
            <a:srgbClr val="F26B43"/>
          </p15:clr>
        </p15:guide>
        <p15:guide id="15" pos="4747">
          <p15:clr>
            <a:srgbClr val="F26B43"/>
          </p15:clr>
        </p15:guide>
        <p15:guide id="16" pos="5201">
          <p15:clr>
            <a:srgbClr val="F26B43"/>
          </p15:clr>
        </p15:guide>
        <p15:guide id="17" pos="5654">
          <p15:clr>
            <a:srgbClr val="F26B43"/>
          </p15:clr>
        </p15:guide>
        <p15:guide id="18" pos="6562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39775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  <p:sldLayoutId id="2147483720" r:id="rId12"/>
    <p:sldLayoutId id="2147483725" r:id="rId13"/>
    <p:sldLayoutId id="2147483721" r:id="rId14"/>
    <p:sldLayoutId id="2147483722" r:id="rId15"/>
    <p:sldLayoutId id="2147483723" r:id="rId16"/>
    <p:sldLayoutId id="2147483724" r:id="rId1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0" i="0" kern="1200">
          <a:solidFill>
            <a:schemeClr val="tx1"/>
          </a:solidFill>
          <a:latin typeface="SB Sans Display Regular" panose="020B050304050402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i="0" kern="1200">
          <a:solidFill>
            <a:schemeClr val="tx1"/>
          </a:solidFill>
          <a:latin typeface="SB Sans Display Regular" panose="020B0503040504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SB Sans Display Regular" panose="020B0503040504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SB Sans Display Regular" panose="020B0503040504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SB Sans Display Regular" panose="020B0503040504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SB Sans Display Regular" panose="020B0503040504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38">
          <p15:clr>
            <a:srgbClr val="F26B43"/>
          </p15:clr>
        </p15:guide>
        <p15:guide id="2" orient="horz" pos="436">
          <p15:clr>
            <a:srgbClr val="F26B43"/>
          </p15:clr>
        </p15:guide>
        <p15:guide id="3" pos="7242">
          <p15:clr>
            <a:srgbClr val="F26B43"/>
          </p15:clr>
        </p15:guide>
        <p15:guide id="4" orient="horz" pos="3884">
          <p15:clr>
            <a:srgbClr val="F26B43"/>
          </p15:clr>
        </p15:guide>
        <p15:guide id="5" orient="horz" pos="2160">
          <p15:clr>
            <a:srgbClr val="F26B43"/>
          </p15:clr>
        </p15:guide>
        <p15:guide id="6" orient="horz" pos="3521">
          <p15:clr>
            <a:srgbClr val="F26B43"/>
          </p15:clr>
        </p15:guide>
        <p15:guide id="7" orient="horz" pos="799">
          <p15:clr>
            <a:srgbClr val="F26B43"/>
          </p15:clr>
        </p15:guide>
        <p15:guide id="8" orient="horz" pos="2614">
          <p15:clr>
            <a:srgbClr val="F26B43"/>
          </p15:clr>
        </p15:guide>
        <p15:guide id="9" orient="horz" pos="1706">
          <p15:clr>
            <a:srgbClr val="F26B43"/>
          </p15:clr>
        </p15:guide>
        <p15:guide id="10" pos="3840">
          <p15:clr>
            <a:srgbClr val="F26B43"/>
          </p15:clr>
        </p15:guide>
        <p15:guide id="11" pos="2933">
          <p15:clr>
            <a:srgbClr val="F26B43"/>
          </p15:clr>
        </p15:guide>
        <p15:guide id="12" pos="2479">
          <p15:clr>
            <a:srgbClr val="F26B43"/>
          </p15:clr>
        </p15:guide>
        <p15:guide id="13" pos="2026">
          <p15:clr>
            <a:srgbClr val="F26B43"/>
          </p15:clr>
        </p15:guide>
        <p15:guide id="14" pos="1118">
          <p15:clr>
            <a:srgbClr val="F26B43"/>
          </p15:clr>
        </p15:guide>
        <p15:guide id="15" pos="4747">
          <p15:clr>
            <a:srgbClr val="F26B43"/>
          </p15:clr>
        </p15:guide>
        <p15:guide id="16" pos="5201">
          <p15:clr>
            <a:srgbClr val="F26B43"/>
          </p15:clr>
        </p15:guide>
        <p15:guide id="17" pos="5654">
          <p15:clr>
            <a:srgbClr val="F26B43"/>
          </p15:clr>
        </p15:guide>
        <p15:guide id="18" pos="6562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145280" y="6377940"/>
            <a:ext cx="390144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0/9/2025</a:t>
            </a:fld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8778240" y="6377940"/>
            <a:ext cx="280416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t>‹#›</a:t>
            </a:fld>
            <a:endParaRPr dirty="0"/>
          </a:p>
        </p:txBody>
      </p:sp>
      <p:sp>
        <p:nvSpPr>
          <p:cNvPr id="8" name="Заголовок 7">
            <a:extLst>
              <a:ext uri="{FF2B5EF4-FFF2-40B4-BE49-F238E27FC236}">
                <a16:creationId xmlns:a16="http://schemas.microsoft.com/office/drawing/2014/main" id="{287FEEEE-477F-524E-8627-A9C3E1E05D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2667000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9920622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7" r:id="rId1"/>
    <p:sldLayoutId id="2147483728" r:id="rId2"/>
    <p:sldLayoutId id="2147483729" r:id="rId3"/>
    <p:sldLayoutId id="2147483730" r:id="rId4"/>
    <p:sldLayoutId id="2147483731" r:id="rId5"/>
    <p:sldLayoutId id="2147483732" r:id="rId6"/>
    <p:sldLayoutId id="2147483733" r:id="rId7"/>
    <p:sldLayoutId id="2147483734" r:id="rId8"/>
    <p:sldLayoutId id="2147483735" r:id="rId9"/>
    <p:sldLayoutId id="2147483736" r:id="rId10"/>
    <p:sldLayoutId id="2147483737" r:id="rId11"/>
    <p:sldLayoutId id="2147483738" r:id="rId12"/>
    <p:sldLayoutId id="2147483739" r:id="rId13"/>
    <p:sldLayoutId id="2147483740" r:id="rId14"/>
    <p:sldLayoutId id="2147483741" r:id="rId15"/>
    <p:sldLayoutId id="2147483742" r:id="rId16"/>
  </p:sldLayoutIdLst>
  <p:txStyles>
    <p:titleStyle>
      <a:lvl1pPr eaLnBrk="1" hangingPunct="1">
        <a:defRPr sz="6000" b="0" i="0">
          <a:latin typeface="SB Sans Display Light" panose="020B0303040504020204" pitchFamily="34" charset="0"/>
          <a:ea typeface="+mj-ea"/>
          <a:cs typeface="SB Sans Display Light" panose="020B0303040504020204" pitchFamily="34" charset="0"/>
        </a:defRPr>
      </a:lvl1pPr>
    </p:titleStyle>
    <p:bodyStyle>
      <a:lvl1pPr marL="0" eaLnBrk="1" hangingPunct="1">
        <a:defRPr>
          <a:latin typeface="+mn-lt"/>
          <a:ea typeface="+mn-ea"/>
          <a:cs typeface="+mn-cs"/>
        </a:defRPr>
      </a:lvl1pPr>
      <a:lvl2pPr marL="457200" eaLnBrk="1" hangingPunct="1">
        <a:defRPr>
          <a:latin typeface="+mn-lt"/>
          <a:ea typeface="+mn-ea"/>
          <a:cs typeface="+mn-cs"/>
        </a:defRPr>
      </a:lvl2pPr>
      <a:lvl3pPr marL="914400" eaLnBrk="1" hangingPunct="1">
        <a:defRPr>
          <a:latin typeface="+mn-lt"/>
          <a:ea typeface="+mn-ea"/>
          <a:cs typeface="+mn-cs"/>
        </a:defRPr>
      </a:lvl3pPr>
      <a:lvl4pPr marL="1371600" eaLnBrk="1" hangingPunct="1">
        <a:defRPr>
          <a:latin typeface="+mn-lt"/>
          <a:ea typeface="+mn-ea"/>
          <a:cs typeface="+mn-cs"/>
        </a:defRPr>
      </a:lvl4pPr>
      <a:lvl5pPr marL="1828800" eaLnBrk="1" hangingPunct="1">
        <a:defRPr>
          <a:latin typeface="+mn-lt"/>
          <a:ea typeface="+mn-ea"/>
          <a:cs typeface="+mn-cs"/>
        </a:defRPr>
      </a:lvl5pPr>
      <a:lvl6pPr marL="2286000" eaLnBrk="1" hangingPunct="1">
        <a:defRPr>
          <a:latin typeface="+mn-lt"/>
          <a:ea typeface="+mn-ea"/>
          <a:cs typeface="+mn-cs"/>
        </a:defRPr>
      </a:lvl6pPr>
      <a:lvl7pPr marL="2743200" eaLnBrk="1" hangingPunct="1">
        <a:defRPr>
          <a:latin typeface="+mn-lt"/>
          <a:ea typeface="+mn-ea"/>
          <a:cs typeface="+mn-cs"/>
        </a:defRPr>
      </a:lvl7pPr>
      <a:lvl8pPr marL="3200400" eaLnBrk="1" hangingPunct="1">
        <a:defRPr>
          <a:latin typeface="+mn-lt"/>
          <a:ea typeface="+mn-ea"/>
          <a:cs typeface="+mn-cs"/>
        </a:defRPr>
      </a:lvl8pPr>
      <a:lvl9pPr marL="3657600" eaLnBrk="1" hangingPunct="1">
        <a:defRPr>
          <a:latin typeface="+mn-lt"/>
          <a:ea typeface="+mn-ea"/>
          <a:cs typeface="+mn-cs"/>
        </a:defRPr>
      </a:lvl9pPr>
    </p:bodyStyle>
    <p:otherStyle>
      <a:lvl1pPr marL="0" eaLnBrk="1" hangingPunct="1">
        <a:defRPr>
          <a:latin typeface="+mn-lt"/>
          <a:ea typeface="+mn-ea"/>
          <a:cs typeface="+mn-cs"/>
        </a:defRPr>
      </a:lvl1pPr>
      <a:lvl2pPr marL="457200" eaLnBrk="1" hangingPunct="1">
        <a:defRPr>
          <a:latin typeface="+mn-lt"/>
          <a:ea typeface="+mn-ea"/>
          <a:cs typeface="+mn-cs"/>
        </a:defRPr>
      </a:lvl2pPr>
      <a:lvl3pPr marL="914400" eaLnBrk="1" hangingPunct="1">
        <a:defRPr>
          <a:latin typeface="+mn-lt"/>
          <a:ea typeface="+mn-ea"/>
          <a:cs typeface="+mn-cs"/>
        </a:defRPr>
      </a:lvl3pPr>
      <a:lvl4pPr marL="1371600" eaLnBrk="1" hangingPunct="1">
        <a:defRPr>
          <a:latin typeface="+mn-lt"/>
          <a:ea typeface="+mn-ea"/>
          <a:cs typeface="+mn-cs"/>
        </a:defRPr>
      </a:lvl4pPr>
      <a:lvl5pPr marL="1828800" eaLnBrk="1" hangingPunct="1">
        <a:defRPr>
          <a:latin typeface="+mn-lt"/>
          <a:ea typeface="+mn-ea"/>
          <a:cs typeface="+mn-cs"/>
        </a:defRPr>
      </a:lvl5pPr>
      <a:lvl6pPr marL="2286000" eaLnBrk="1" hangingPunct="1">
        <a:defRPr>
          <a:latin typeface="+mn-lt"/>
          <a:ea typeface="+mn-ea"/>
          <a:cs typeface="+mn-cs"/>
        </a:defRPr>
      </a:lvl6pPr>
      <a:lvl7pPr marL="2743200" eaLnBrk="1" hangingPunct="1">
        <a:defRPr>
          <a:latin typeface="+mn-lt"/>
          <a:ea typeface="+mn-ea"/>
          <a:cs typeface="+mn-cs"/>
        </a:defRPr>
      </a:lvl7pPr>
      <a:lvl8pPr marL="3200400" eaLnBrk="1" hangingPunct="1">
        <a:defRPr>
          <a:latin typeface="+mn-lt"/>
          <a:ea typeface="+mn-ea"/>
          <a:cs typeface="+mn-cs"/>
        </a:defRPr>
      </a:lvl8pPr>
      <a:lvl9pPr marL="3657600" eaLnBrk="1" hangingPunct="1">
        <a:defRPr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pos="7248">
          <p15:clr>
            <a:srgbClr val="F26B43"/>
          </p15:clr>
        </p15:guide>
        <p15:guide id="3" pos="432">
          <p15:clr>
            <a:srgbClr val="F26B43"/>
          </p15:clr>
        </p15:guide>
        <p15:guide id="4" pos="1104">
          <p15:clr>
            <a:srgbClr val="F26B43"/>
          </p15:clr>
        </p15:guide>
        <p15:guide id="5" pos="6576">
          <p15:clr>
            <a:srgbClr val="F26B43"/>
          </p15:clr>
        </p15:guide>
        <p15:guide id="6" orient="horz" pos="432">
          <p15:clr>
            <a:srgbClr val="F26B43"/>
          </p15:clr>
        </p15:guide>
        <p15:guide id="7" orient="horz" pos="2160">
          <p15:clr>
            <a:srgbClr val="F26B43"/>
          </p15:clr>
        </p15:guide>
        <p15:guide id="8" orient="horz" pos="3888">
          <p15:clr>
            <a:srgbClr val="F26B43"/>
          </p15:clr>
        </p15:guide>
        <p15:guide id="9" orient="horz" pos="3504">
          <p15:clr>
            <a:srgbClr val="F26B43"/>
          </p15:clr>
        </p15:guide>
        <p15:guide id="10" orient="horz" pos="816">
          <p15:clr>
            <a:srgbClr val="F26B43"/>
          </p15:clr>
        </p15:guide>
        <p15:guide id="11" orient="horz" pos="2640">
          <p15:clr>
            <a:srgbClr val="F26B43"/>
          </p15:clr>
        </p15:guide>
        <p15:guide id="12" orient="horz" pos="1680">
          <p15:clr>
            <a:srgbClr val="F26B43"/>
          </p15:clr>
        </p15:guide>
        <p15:guide id="13" pos="2928">
          <p15:clr>
            <a:srgbClr val="F26B43"/>
          </p15:clr>
        </p15:guide>
        <p15:guide id="14" pos="4752">
          <p15:clr>
            <a:srgbClr val="F26B43"/>
          </p15:clr>
        </p15:guide>
        <p15:guide id="15" pos="2496">
          <p15:clr>
            <a:srgbClr val="F26B43"/>
          </p15:clr>
        </p15:guide>
        <p15:guide id="16" pos="5184">
          <p15:clr>
            <a:srgbClr val="F26B43"/>
          </p15:clr>
        </p15:guide>
        <p15:guide id="17" pos="2016">
          <p15:clr>
            <a:srgbClr val="F26B43"/>
          </p15:clr>
        </p15:guide>
        <p15:guide id="18" pos="56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49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7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7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503452CA-A194-43A7-8A5B-EA397BFDAEF3}"/>
              </a:ext>
            </a:extLst>
          </p:cNvPr>
          <p:cNvSpPr txBox="1"/>
          <p:nvPr/>
        </p:nvSpPr>
        <p:spPr>
          <a:xfrm>
            <a:off x="435615" y="766657"/>
            <a:ext cx="3541986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6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Анализ экономических данных. Классификация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13FD2E4-07BB-451F-AB81-D9D288920675}"/>
              </a:ext>
            </a:extLst>
          </p:cNvPr>
          <p:cNvSpPr txBox="1"/>
          <p:nvPr/>
        </p:nvSpPr>
        <p:spPr>
          <a:xfrm>
            <a:off x="461517" y="3886863"/>
            <a:ext cx="400444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dirty="0">
                <a:solidFill>
                  <a:schemeClr val="accent1">
                    <a:lumMod val="75000"/>
                  </a:schemeClr>
                </a:solidFill>
              </a:rPr>
              <a:t>Петр Паршаков</a:t>
            </a:r>
          </a:p>
          <a:p>
            <a:r>
              <a:rPr lang="ru-RU" sz="2800" dirty="0">
                <a:solidFill>
                  <a:schemeClr val="accent1">
                    <a:lumMod val="75000"/>
                  </a:schemeClr>
                </a:solidFill>
              </a:rPr>
              <a:t>к.э.н., </a:t>
            </a:r>
            <a:r>
              <a:rPr lang="en-US" sz="2800" dirty="0">
                <a:solidFill>
                  <a:schemeClr val="accent1">
                    <a:lumMod val="75000"/>
                  </a:schemeClr>
                </a:solidFill>
              </a:rPr>
              <a:t>PhD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350076CD-6271-437A-9A6D-7AAB143CE76A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615" y="6114518"/>
            <a:ext cx="4163224" cy="493735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5639286B-44E6-D41B-8538-DF1E1ECE7C9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59631" y="0"/>
            <a:ext cx="7287904" cy="72879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512921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11889400" y="6449335"/>
            <a:ext cx="300721" cy="338554"/>
          </a:xfrm>
          <a:prstGeom prst="rect">
            <a:avLst/>
          </a:prstGeom>
        </p:spPr>
        <p:txBody>
          <a:bodyPr/>
          <a:lstStyle/>
          <a:p>
            <a:pPr defTabSz="914377" hangingPunct="0"/>
            <a:fld id="{7DB1B327-4D8B-4363-B1F2-9ED0E4F4AAE4}" type="slidenum">
              <a:rPr lang="ru-RU" kern="0">
                <a:latin typeface="Calibri"/>
                <a:cs typeface="Calibri"/>
                <a:sym typeface="Calibri"/>
              </a:rPr>
              <a:pPr defTabSz="914377" hangingPunct="0"/>
              <a:t>10</a:t>
            </a:fld>
            <a:endParaRPr lang="ru-RU" kern="0">
              <a:latin typeface="Calibri"/>
              <a:cs typeface="Calibri"/>
              <a:sym typeface="Calibri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Жадно найдем лучшее первое ветвление</a:t>
            </a:r>
            <a:endParaRPr lang="en-US" dirty="0"/>
          </a:p>
        </p:txBody>
      </p:sp>
      <p:pic>
        <p:nvPicPr>
          <p:cNvPr id="5" name="Content Placeholder 4" descr="/Users/zian/Library/Group Containers/UBF8T346G9.Office/msoclip1/01/FF9BAD90-7A8E-6240-9C40-855FB54F971B.png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3229" y="1279320"/>
            <a:ext cx="6197600" cy="5156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Straight Connector 6"/>
          <p:cNvCxnSpPr/>
          <p:nvPr/>
        </p:nvCxnSpPr>
        <p:spPr>
          <a:xfrm>
            <a:off x="2302075" y="3784733"/>
            <a:ext cx="4267200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6823035" y="3538512"/>
            <a:ext cx="1574470" cy="5027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77" hangingPunct="0"/>
            <a:r>
              <a:rPr lang="ru-RU" sz="2667" kern="0" dirty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t>3 ошибки</a:t>
            </a:r>
            <a:endParaRPr lang="en-US" sz="2667" kern="0" dirty="0">
              <a:solidFill>
                <a:srgbClr val="000000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003229" y="1948329"/>
            <a:ext cx="74536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 hangingPunct="0"/>
            <a:r>
              <a:rPr lang="ru-RU" sz="2400" kern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t>1</a:t>
            </a:r>
            <a:endParaRPr lang="en-US" sz="2400" kern="0" dirty="0">
              <a:solidFill>
                <a:srgbClr val="000000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003229" y="5355172"/>
            <a:ext cx="74536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 hangingPunct="0"/>
            <a:r>
              <a:rPr lang="ru-RU" sz="2400" kern="0" dirty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t>0</a:t>
            </a:r>
            <a:endParaRPr lang="en-US" sz="2400" kern="0" dirty="0">
              <a:solidFill>
                <a:srgbClr val="000000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929390" y="6126169"/>
            <a:ext cx="74536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 hangingPunct="0"/>
            <a:r>
              <a:rPr lang="ru-RU" sz="2400" kern="0" dirty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t>0</a:t>
            </a:r>
            <a:endParaRPr lang="en-US" sz="2400" kern="0" dirty="0">
              <a:solidFill>
                <a:srgbClr val="000000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837946" y="6126169"/>
            <a:ext cx="74536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 hangingPunct="0"/>
            <a:r>
              <a:rPr lang="ru-RU" sz="2400" kern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t>1</a:t>
            </a:r>
            <a:endParaRPr lang="en-US" sz="2400" kern="0" dirty="0">
              <a:solidFill>
                <a:srgbClr val="000000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8595656" y="1226280"/>
            <a:ext cx="1936157" cy="722048"/>
          </a:xfrm>
          <a:prstGeom prst="rect">
            <a:avLst/>
          </a:prstGeom>
          <a:ln w="28575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7" hangingPunct="0"/>
            <a:r>
              <a:rPr lang="en-US" sz="2667" kern="0" dirty="0">
                <a:solidFill>
                  <a:srgbClr val="000000"/>
                </a:solidFill>
                <a:latin typeface="Helvetica"/>
                <a:sym typeface="Calibri"/>
              </a:rPr>
              <a:t>X2 &gt; 0.5</a:t>
            </a:r>
          </a:p>
        </p:txBody>
      </p:sp>
    </p:spTree>
    <p:extLst>
      <p:ext uri="{BB962C8B-B14F-4D97-AF65-F5344CB8AC3E}">
        <p14:creationId xmlns:p14="http://schemas.microsoft.com/office/powerpoint/2010/main" val="23292328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11889400" y="6449335"/>
            <a:ext cx="300721" cy="338554"/>
          </a:xfrm>
          <a:prstGeom prst="rect">
            <a:avLst/>
          </a:prstGeom>
        </p:spPr>
        <p:txBody>
          <a:bodyPr/>
          <a:lstStyle/>
          <a:p>
            <a:pPr defTabSz="914377" hangingPunct="0"/>
            <a:fld id="{7DB1B327-4D8B-4363-B1F2-9ED0E4F4AAE4}" type="slidenum">
              <a:rPr lang="ru-RU" kern="0">
                <a:latin typeface="Calibri"/>
                <a:cs typeface="Calibri"/>
                <a:sym typeface="Calibri"/>
              </a:rPr>
              <a:pPr defTabSz="914377" hangingPunct="0"/>
              <a:t>11</a:t>
            </a:fld>
            <a:endParaRPr lang="ru-RU" kern="0">
              <a:latin typeface="Calibri"/>
              <a:cs typeface="Calibri"/>
              <a:sym typeface="Calibri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Нашли лучшее первое ветвление</a:t>
            </a:r>
            <a:endParaRPr lang="en-US" dirty="0"/>
          </a:p>
        </p:txBody>
      </p:sp>
      <p:pic>
        <p:nvPicPr>
          <p:cNvPr id="5" name="Content Placeholder 4" descr="/Users/zian/Library/Group Containers/UBF8T346G9.Office/msoclip1/01/FF9BAD90-7A8E-6240-9C40-855FB54F971B.png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3229" y="1279320"/>
            <a:ext cx="6197600" cy="5156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Straight Connector 6"/>
          <p:cNvCxnSpPr/>
          <p:nvPr/>
        </p:nvCxnSpPr>
        <p:spPr>
          <a:xfrm>
            <a:off x="2302075" y="3784733"/>
            <a:ext cx="4267200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>
            <a:off x="1003229" y="1948329"/>
            <a:ext cx="74536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 hangingPunct="0"/>
            <a:r>
              <a:rPr lang="ru-RU" sz="2400" kern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t>1</a:t>
            </a:r>
            <a:endParaRPr lang="en-US" sz="2400" kern="0" dirty="0">
              <a:solidFill>
                <a:srgbClr val="000000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003229" y="5355172"/>
            <a:ext cx="74536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 hangingPunct="0"/>
            <a:r>
              <a:rPr lang="ru-RU" sz="2400" kern="0" dirty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t>0</a:t>
            </a:r>
            <a:endParaRPr lang="en-US" sz="2400" kern="0" dirty="0">
              <a:solidFill>
                <a:srgbClr val="000000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929390" y="6126169"/>
            <a:ext cx="74536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 hangingPunct="0"/>
            <a:r>
              <a:rPr lang="ru-RU" sz="2400" kern="0" dirty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t>0</a:t>
            </a:r>
            <a:endParaRPr lang="en-US" sz="2400" kern="0" dirty="0">
              <a:solidFill>
                <a:srgbClr val="000000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837946" y="6126169"/>
            <a:ext cx="74536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 hangingPunct="0"/>
            <a:r>
              <a:rPr lang="ru-RU" sz="2400" kern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t>1</a:t>
            </a:r>
            <a:endParaRPr lang="en-US" sz="2400" kern="0" dirty="0">
              <a:solidFill>
                <a:srgbClr val="000000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8595656" y="1226280"/>
            <a:ext cx="1936157" cy="722048"/>
          </a:xfrm>
          <a:prstGeom prst="rect">
            <a:avLst/>
          </a:prstGeom>
          <a:ln w="28575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7" hangingPunct="0"/>
            <a:r>
              <a:rPr lang="en-US" sz="2667" kern="0" dirty="0">
                <a:solidFill>
                  <a:srgbClr val="000000"/>
                </a:solidFill>
                <a:latin typeface="Helvetica"/>
                <a:sym typeface="Calibri"/>
              </a:rPr>
              <a:t>X2 &gt; 0.5</a:t>
            </a:r>
          </a:p>
        </p:txBody>
      </p:sp>
      <p:sp>
        <p:nvSpPr>
          <p:cNvPr id="14" name="Rectangle 13"/>
          <p:cNvSpPr/>
          <p:nvPr/>
        </p:nvSpPr>
        <p:spPr>
          <a:xfrm>
            <a:off x="7890880" y="2558071"/>
            <a:ext cx="1585088" cy="683099"/>
          </a:xfrm>
          <a:prstGeom prst="rect">
            <a:avLst/>
          </a:prstGeom>
          <a:ln w="28575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7" hangingPunct="0"/>
            <a:endParaRPr lang="en-US" sz="3733" kern="0" dirty="0">
              <a:solidFill>
                <a:srgbClr val="000000"/>
              </a:solidFill>
              <a:latin typeface="Helvetica"/>
              <a:sym typeface="Calibri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9739269" y="2558071"/>
            <a:ext cx="1585088" cy="683099"/>
          </a:xfrm>
          <a:prstGeom prst="rect">
            <a:avLst/>
          </a:prstGeom>
          <a:noFill/>
          <a:ln w="28575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7" hangingPunct="0"/>
            <a:endParaRPr lang="en-US" sz="3733" kern="0" dirty="0">
              <a:solidFill>
                <a:srgbClr val="000000"/>
              </a:solidFill>
              <a:latin typeface="Helvetica"/>
              <a:sym typeface="Calibri"/>
            </a:endParaRPr>
          </a:p>
        </p:txBody>
      </p:sp>
      <p:cxnSp>
        <p:nvCxnSpPr>
          <p:cNvPr id="16" name="Straight Arrow Connector 15"/>
          <p:cNvCxnSpPr>
            <a:stCxn id="13" idx="2"/>
            <a:endCxn id="15" idx="0"/>
          </p:cNvCxnSpPr>
          <p:nvPr/>
        </p:nvCxnSpPr>
        <p:spPr>
          <a:xfrm>
            <a:off x="9563735" y="1948329"/>
            <a:ext cx="968079" cy="609743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/>
          <p:cNvSpPr txBox="1"/>
          <p:nvPr/>
        </p:nvSpPr>
        <p:spPr>
          <a:xfrm>
            <a:off x="8299422" y="1948329"/>
            <a:ext cx="53091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77" hangingPunct="0"/>
            <a:r>
              <a:rPr lang="ru-RU" sz="2400" kern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t>Да</a:t>
            </a:r>
            <a:endParaRPr lang="en-US" sz="2400" kern="0" dirty="0">
              <a:solidFill>
                <a:srgbClr val="000000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10374486" y="1948329"/>
            <a:ext cx="64953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77" hangingPunct="0"/>
            <a:r>
              <a:rPr lang="ru-RU" sz="2400" kern="0" dirty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t>Нет</a:t>
            </a:r>
            <a:endParaRPr lang="en-US" sz="2400" kern="0" dirty="0">
              <a:solidFill>
                <a:srgbClr val="000000"/>
              </a:solidFill>
              <a:latin typeface="Calibri"/>
              <a:cs typeface="Calibri"/>
              <a:sym typeface="Calibri"/>
            </a:endParaRPr>
          </a:p>
        </p:txBody>
      </p:sp>
      <p:cxnSp>
        <p:nvCxnSpPr>
          <p:cNvPr id="19" name="Straight Arrow Connector 18"/>
          <p:cNvCxnSpPr>
            <a:stCxn id="13" idx="2"/>
            <a:endCxn id="14" idx="0"/>
          </p:cNvCxnSpPr>
          <p:nvPr/>
        </p:nvCxnSpPr>
        <p:spPr>
          <a:xfrm flipH="1">
            <a:off x="8683425" y="1948329"/>
            <a:ext cx="880311" cy="609743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111597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11889400" y="6449335"/>
            <a:ext cx="300721" cy="338554"/>
          </a:xfrm>
          <a:prstGeom prst="rect">
            <a:avLst/>
          </a:prstGeom>
        </p:spPr>
        <p:txBody>
          <a:bodyPr/>
          <a:lstStyle/>
          <a:p>
            <a:pPr defTabSz="914377" hangingPunct="0"/>
            <a:fld id="{7DB1B327-4D8B-4363-B1F2-9ED0E4F4AAE4}" type="slidenum">
              <a:rPr lang="ru-RU" kern="0">
                <a:latin typeface="Calibri"/>
                <a:cs typeface="Calibri"/>
                <a:sym typeface="Calibri"/>
              </a:rPr>
              <a:pPr defTabSz="914377" hangingPunct="0"/>
              <a:t>12</a:t>
            </a:fld>
            <a:endParaRPr lang="ru-RU" kern="0">
              <a:latin typeface="Calibri"/>
              <a:cs typeface="Calibri"/>
              <a:sym typeface="Calibri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Нашли лучшее первое ветвление</a:t>
            </a:r>
            <a:endParaRPr lang="en-US" dirty="0"/>
          </a:p>
        </p:txBody>
      </p:sp>
      <p:pic>
        <p:nvPicPr>
          <p:cNvPr id="5" name="Content Placeholder 4" descr="/Users/zian/Library/Group Containers/UBF8T346G9.Office/msoclip1/01/FF9BAD90-7A8E-6240-9C40-855FB54F971B.png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3229" y="1279320"/>
            <a:ext cx="6197600" cy="5156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Straight Connector 6"/>
          <p:cNvCxnSpPr/>
          <p:nvPr/>
        </p:nvCxnSpPr>
        <p:spPr>
          <a:xfrm>
            <a:off x="2302075" y="3784733"/>
            <a:ext cx="4267200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>
            <a:off x="1003229" y="1948329"/>
            <a:ext cx="74536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 hangingPunct="0"/>
            <a:r>
              <a:rPr lang="ru-RU" sz="2400" kern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t>1</a:t>
            </a:r>
            <a:endParaRPr lang="en-US" sz="2400" kern="0" dirty="0">
              <a:solidFill>
                <a:srgbClr val="000000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003229" y="5355172"/>
            <a:ext cx="74536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 hangingPunct="0"/>
            <a:r>
              <a:rPr lang="ru-RU" sz="2400" kern="0" dirty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t>0</a:t>
            </a:r>
            <a:endParaRPr lang="en-US" sz="2400" kern="0" dirty="0">
              <a:solidFill>
                <a:srgbClr val="000000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929390" y="6126169"/>
            <a:ext cx="74536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 hangingPunct="0"/>
            <a:r>
              <a:rPr lang="ru-RU" sz="2400" kern="0" dirty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t>0</a:t>
            </a:r>
            <a:endParaRPr lang="en-US" sz="2400" kern="0" dirty="0">
              <a:solidFill>
                <a:srgbClr val="000000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837946" y="6126169"/>
            <a:ext cx="74536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 hangingPunct="0"/>
            <a:r>
              <a:rPr lang="ru-RU" sz="2400" kern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t>1</a:t>
            </a:r>
            <a:endParaRPr lang="en-US" sz="2400" kern="0" dirty="0">
              <a:solidFill>
                <a:srgbClr val="000000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8595656" y="1226280"/>
            <a:ext cx="1936157" cy="722048"/>
          </a:xfrm>
          <a:prstGeom prst="rect">
            <a:avLst/>
          </a:prstGeom>
          <a:ln w="28575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7" hangingPunct="0"/>
            <a:r>
              <a:rPr lang="en-US" sz="2667" kern="0" dirty="0">
                <a:solidFill>
                  <a:srgbClr val="000000"/>
                </a:solidFill>
                <a:latin typeface="Helvetica"/>
                <a:sym typeface="Calibri"/>
              </a:rPr>
              <a:t>X2 &gt; 0.5</a:t>
            </a:r>
          </a:p>
        </p:txBody>
      </p:sp>
      <p:sp>
        <p:nvSpPr>
          <p:cNvPr id="14" name="Rectangle 13"/>
          <p:cNvSpPr/>
          <p:nvPr/>
        </p:nvSpPr>
        <p:spPr>
          <a:xfrm>
            <a:off x="7890880" y="2558071"/>
            <a:ext cx="1585088" cy="683099"/>
          </a:xfrm>
          <a:prstGeom prst="rect">
            <a:avLst/>
          </a:prstGeom>
          <a:ln w="28575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7" hangingPunct="0"/>
            <a:endParaRPr lang="en-US" sz="3733" kern="0" dirty="0">
              <a:solidFill>
                <a:srgbClr val="000000"/>
              </a:solidFill>
              <a:latin typeface="Helvetica"/>
              <a:sym typeface="Calibri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9739269" y="2558071"/>
            <a:ext cx="1585088" cy="683099"/>
          </a:xfrm>
          <a:prstGeom prst="rect">
            <a:avLst/>
          </a:prstGeom>
          <a:noFill/>
          <a:ln w="28575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7" hangingPunct="0"/>
            <a:endParaRPr lang="en-US" sz="3733" kern="0" dirty="0">
              <a:solidFill>
                <a:srgbClr val="000000"/>
              </a:solidFill>
              <a:latin typeface="Helvetica"/>
              <a:sym typeface="Calibri"/>
            </a:endParaRPr>
          </a:p>
        </p:txBody>
      </p:sp>
      <p:cxnSp>
        <p:nvCxnSpPr>
          <p:cNvPr id="16" name="Straight Arrow Connector 15"/>
          <p:cNvCxnSpPr>
            <a:stCxn id="13" idx="2"/>
            <a:endCxn id="15" idx="0"/>
          </p:cNvCxnSpPr>
          <p:nvPr/>
        </p:nvCxnSpPr>
        <p:spPr>
          <a:xfrm>
            <a:off x="9563735" y="1948329"/>
            <a:ext cx="968079" cy="609743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/>
          <p:cNvSpPr txBox="1"/>
          <p:nvPr/>
        </p:nvSpPr>
        <p:spPr>
          <a:xfrm>
            <a:off x="8299422" y="1948329"/>
            <a:ext cx="53091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77" hangingPunct="0"/>
            <a:r>
              <a:rPr lang="ru-RU" sz="2400" kern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t>Да</a:t>
            </a:r>
            <a:endParaRPr lang="en-US" sz="2400" kern="0" dirty="0">
              <a:solidFill>
                <a:srgbClr val="000000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10374486" y="1948329"/>
            <a:ext cx="64953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77" hangingPunct="0"/>
            <a:r>
              <a:rPr lang="ru-RU" sz="2400" kern="0" dirty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t>Нет</a:t>
            </a:r>
            <a:endParaRPr lang="en-US" sz="2400" kern="0" dirty="0">
              <a:solidFill>
                <a:srgbClr val="000000"/>
              </a:solidFill>
              <a:latin typeface="Calibri"/>
              <a:cs typeface="Calibri"/>
              <a:sym typeface="Calibri"/>
            </a:endParaRPr>
          </a:p>
        </p:txBody>
      </p:sp>
      <p:cxnSp>
        <p:nvCxnSpPr>
          <p:cNvPr id="19" name="Straight Arrow Connector 18"/>
          <p:cNvCxnSpPr>
            <a:stCxn id="13" idx="2"/>
            <a:endCxn id="14" idx="0"/>
          </p:cNvCxnSpPr>
          <p:nvPr/>
        </p:nvCxnSpPr>
        <p:spPr>
          <a:xfrm flipH="1">
            <a:off x="8683425" y="1948329"/>
            <a:ext cx="880311" cy="609743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/>
          <p:cNvSpPr txBox="1"/>
          <p:nvPr/>
        </p:nvSpPr>
        <p:spPr>
          <a:xfrm>
            <a:off x="9739270" y="3449947"/>
            <a:ext cx="187160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 hangingPunct="0"/>
            <a:r>
              <a:rPr lang="ru-RU" sz="2400" kern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t>Продолжим эту ветку</a:t>
            </a:r>
            <a:endParaRPr lang="en-US" sz="2400" kern="0" dirty="0">
              <a:solidFill>
                <a:srgbClr val="000000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2160350" y="3784733"/>
            <a:ext cx="4408924" cy="2062880"/>
          </a:xfrm>
          <a:prstGeom prst="rect">
            <a:avLst/>
          </a:prstGeom>
          <a:solidFill>
            <a:srgbClr val="8DFF43">
              <a:alpha val="29804"/>
            </a:srgbClr>
          </a:solidFill>
          <a:ln w="28575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7" hangingPunct="0"/>
            <a:endParaRPr lang="en-US" sz="3733" kern="0" dirty="0">
              <a:solidFill>
                <a:srgbClr val="000000"/>
              </a:solidFill>
              <a:latin typeface="Helvetica"/>
              <a:sym typeface="Calibri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9793080" y="2558071"/>
            <a:ext cx="1531277" cy="683099"/>
          </a:xfrm>
          <a:prstGeom prst="rect">
            <a:avLst/>
          </a:prstGeom>
          <a:solidFill>
            <a:srgbClr val="8DFF43">
              <a:alpha val="29804"/>
            </a:srgbClr>
          </a:solidFill>
          <a:ln w="28575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7" hangingPunct="0"/>
            <a:endParaRPr lang="en-US" sz="3733" kern="0" dirty="0">
              <a:solidFill>
                <a:srgbClr val="000000"/>
              </a:solidFill>
              <a:latin typeface="Helvetica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15848679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11889400" y="6449335"/>
            <a:ext cx="300721" cy="338554"/>
          </a:xfrm>
          <a:prstGeom prst="rect">
            <a:avLst/>
          </a:prstGeom>
        </p:spPr>
        <p:txBody>
          <a:bodyPr/>
          <a:lstStyle/>
          <a:p>
            <a:pPr defTabSz="914377" hangingPunct="0"/>
            <a:fld id="{7DB1B327-4D8B-4363-B1F2-9ED0E4F4AAE4}" type="slidenum">
              <a:rPr lang="ru-RU" kern="0">
                <a:latin typeface="Calibri"/>
                <a:cs typeface="Calibri"/>
                <a:sym typeface="Calibri"/>
              </a:rPr>
              <a:pPr defTabSz="914377" hangingPunct="0"/>
              <a:t>13</a:t>
            </a:fld>
            <a:endParaRPr lang="ru-RU" kern="0">
              <a:latin typeface="Calibri"/>
              <a:cs typeface="Calibri"/>
              <a:sym typeface="Calibri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Нашли лучшее второе ветвление</a:t>
            </a:r>
            <a:endParaRPr lang="en-US" dirty="0"/>
          </a:p>
        </p:txBody>
      </p:sp>
      <p:pic>
        <p:nvPicPr>
          <p:cNvPr id="5" name="Content Placeholder 4" descr="/Users/zian/Library/Group Containers/UBF8T346G9.Office/msoclip1/01/FF9BAD90-7A8E-6240-9C40-855FB54F971B.png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3229" y="1279320"/>
            <a:ext cx="6197600" cy="5156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Straight Connector 6"/>
          <p:cNvCxnSpPr/>
          <p:nvPr/>
        </p:nvCxnSpPr>
        <p:spPr>
          <a:xfrm>
            <a:off x="2302075" y="3784733"/>
            <a:ext cx="4267200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>
            <a:off x="1003229" y="1948329"/>
            <a:ext cx="74536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 hangingPunct="0"/>
            <a:r>
              <a:rPr lang="ru-RU" sz="2400" kern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t>1</a:t>
            </a:r>
            <a:endParaRPr lang="en-US" sz="2400" kern="0" dirty="0">
              <a:solidFill>
                <a:srgbClr val="000000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003229" y="5355172"/>
            <a:ext cx="74536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 hangingPunct="0"/>
            <a:r>
              <a:rPr lang="ru-RU" sz="2400" kern="0" dirty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t>0</a:t>
            </a:r>
            <a:endParaRPr lang="en-US" sz="2400" kern="0" dirty="0">
              <a:solidFill>
                <a:srgbClr val="000000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929390" y="6126169"/>
            <a:ext cx="74536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 hangingPunct="0"/>
            <a:r>
              <a:rPr lang="ru-RU" sz="2400" kern="0" dirty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t>0</a:t>
            </a:r>
            <a:endParaRPr lang="en-US" sz="2400" kern="0" dirty="0">
              <a:solidFill>
                <a:srgbClr val="000000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837946" y="6126169"/>
            <a:ext cx="74536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 hangingPunct="0"/>
            <a:r>
              <a:rPr lang="ru-RU" sz="2400" kern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t>1</a:t>
            </a:r>
            <a:endParaRPr lang="en-US" sz="2400" kern="0" dirty="0">
              <a:solidFill>
                <a:srgbClr val="000000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8595656" y="1226280"/>
            <a:ext cx="1936157" cy="722048"/>
          </a:xfrm>
          <a:prstGeom prst="rect">
            <a:avLst/>
          </a:prstGeom>
          <a:ln w="28575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7" hangingPunct="0"/>
            <a:r>
              <a:rPr lang="en-US" sz="2667" kern="0" dirty="0">
                <a:solidFill>
                  <a:srgbClr val="000000"/>
                </a:solidFill>
                <a:latin typeface="Helvetica"/>
                <a:sym typeface="Calibri"/>
              </a:rPr>
              <a:t>X2 &gt; 0.5</a:t>
            </a:r>
          </a:p>
        </p:txBody>
      </p:sp>
      <p:sp>
        <p:nvSpPr>
          <p:cNvPr id="14" name="Rectangle 13"/>
          <p:cNvSpPr/>
          <p:nvPr/>
        </p:nvSpPr>
        <p:spPr>
          <a:xfrm>
            <a:off x="7890880" y="2558071"/>
            <a:ext cx="1585088" cy="683099"/>
          </a:xfrm>
          <a:prstGeom prst="rect">
            <a:avLst/>
          </a:prstGeom>
          <a:ln w="28575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7" hangingPunct="0"/>
            <a:endParaRPr lang="en-US" sz="3733" kern="0" dirty="0">
              <a:solidFill>
                <a:srgbClr val="000000"/>
              </a:solidFill>
              <a:latin typeface="Helvetica"/>
              <a:sym typeface="Calibri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9739269" y="2558071"/>
            <a:ext cx="1585088" cy="683099"/>
          </a:xfrm>
          <a:prstGeom prst="rect">
            <a:avLst/>
          </a:prstGeom>
          <a:noFill/>
          <a:ln w="28575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7" hangingPunct="0"/>
            <a:endParaRPr lang="en-US" sz="3733" kern="0" dirty="0">
              <a:solidFill>
                <a:srgbClr val="000000"/>
              </a:solidFill>
              <a:latin typeface="Helvetica"/>
              <a:sym typeface="Calibri"/>
            </a:endParaRPr>
          </a:p>
        </p:txBody>
      </p:sp>
      <p:cxnSp>
        <p:nvCxnSpPr>
          <p:cNvPr id="16" name="Straight Arrow Connector 15"/>
          <p:cNvCxnSpPr>
            <a:stCxn id="13" idx="2"/>
            <a:endCxn id="15" idx="0"/>
          </p:cNvCxnSpPr>
          <p:nvPr/>
        </p:nvCxnSpPr>
        <p:spPr>
          <a:xfrm>
            <a:off x="9563735" y="1948329"/>
            <a:ext cx="968079" cy="609743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/>
          <p:cNvSpPr txBox="1"/>
          <p:nvPr/>
        </p:nvSpPr>
        <p:spPr>
          <a:xfrm>
            <a:off x="8299422" y="1948329"/>
            <a:ext cx="53091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77" hangingPunct="0"/>
            <a:r>
              <a:rPr lang="ru-RU" sz="2400" kern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t>Да</a:t>
            </a:r>
            <a:endParaRPr lang="en-US" sz="2400" kern="0" dirty="0">
              <a:solidFill>
                <a:srgbClr val="000000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10374486" y="1948329"/>
            <a:ext cx="64953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77" hangingPunct="0"/>
            <a:r>
              <a:rPr lang="ru-RU" sz="2400" kern="0" dirty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t>Нет</a:t>
            </a:r>
            <a:endParaRPr lang="en-US" sz="2400" kern="0" dirty="0">
              <a:solidFill>
                <a:srgbClr val="000000"/>
              </a:solidFill>
              <a:latin typeface="Calibri"/>
              <a:cs typeface="Calibri"/>
              <a:sym typeface="Calibri"/>
            </a:endParaRPr>
          </a:p>
        </p:txBody>
      </p:sp>
      <p:cxnSp>
        <p:nvCxnSpPr>
          <p:cNvPr id="19" name="Straight Arrow Connector 18"/>
          <p:cNvCxnSpPr>
            <a:stCxn id="13" idx="2"/>
            <a:endCxn id="14" idx="0"/>
          </p:cNvCxnSpPr>
          <p:nvPr/>
        </p:nvCxnSpPr>
        <p:spPr>
          <a:xfrm flipH="1">
            <a:off x="8683425" y="1948329"/>
            <a:ext cx="880311" cy="609743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9"/>
          <p:cNvSpPr/>
          <p:nvPr/>
        </p:nvSpPr>
        <p:spPr>
          <a:xfrm>
            <a:off x="3981857" y="3784733"/>
            <a:ext cx="2587417" cy="2062880"/>
          </a:xfrm>
          <a:prstGeom prst="rect">
            <a:avLst/>
          </a:prstGeom>
          <a:solidFill>
            <a:srgbClr val="8DFF43">
              <a:alpha val="29804"/>
            </a:srgbClr>
          </a:solidFill>
          <a:ln w="28575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7" hangingPunct="0"/>
            <a:endParaRPr lang="en-US" sz="3733" kern="0" dirty="0">
              <a:solidFill>
                <a:srgbClr val="000000"/>
              </a:solidFill>
              <a:latin typeface="Helvetica"/>
              <a:sym typeface="Calibri"/>
            </a:endParaRPr>
          </a:p>
        </p:txBody>
      </p:sp>
      <p:cxnSp>
        <p:nvCxnSpPr>
          <p:cNvPr id="22" name="Straight Connector 21"/>
          <p:cNvCxnSpPr/>
          <p:nvPr/>
        </p:nvCxnSpPr>
        <p:spPr>
          <a:xfrm flipH="1">
            <a:off x="3981856" y="3800597"/>
            <a:ext cx="14995" cy="2047017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/>
        </p:nvSpPr>
        <p:spPr>
          <a:xfrm>
            <a:off x="9743001" y="2582457"/>
            <a:ext cx="162897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 hangingPunct="0"/>
            <a:r>
              <a:rPr lang="en-US" sz="3200" kern="0" dirty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t>X1 &gt; 0.4</a:t>
            </a:r>
          </a:p>
        </p:txBody>
      </p:sp>
      <p:cxnSp>
        <p:nvCxnSpPr>
          <p:cNvPr id="26" name="Straight Arrow Connector 25"/>
          <p:cNvCxnSpPr/>
          <p:nvPr/>
        </p:nvCxnSpPr>
        <p:spPr>
          <a:xfrm>
            <a:off x="10531814" y="3280119"/>
            <a:ext cx="968079" cy="609743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/>
        </p:nvSpPr>
        <p:spPr>
          <a:xfrm>
            <a:off x="9267501" y="3280120"/>
            <a:ext cx="53091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77" hangingPunct="0"/>
            <a:r>
              <a:rPr lang="ru-RU" sz="2400" kern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t>Да</a:t>
            </a:r>
            <a:endParaRPr lang="en-US" sz="2400" kern="0" dirty="0">
              <a:solidFill>
                <a:srgbClr val="000000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11342565" y="3280120"/>
            <a:ext cx="64953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77" hangingPunct="0"/>
            <a:r>
              <a:rPr lang="ru-RU" sz="2400" kern="0" dirty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t>Нет</a:t>
            </a:r>
            <a:endParaRPr lang="en-US" sz="2400" kern="0" dirty="0">
              <a:solidFill>
                <a:srgbClr val="000000"/>
              </a:solidFill>
              <a:latin typeface="Calibri"/>
              <a:cs typeface="Calibri"/>
              <a:sym typeface="Calibri"/>
            </a:endParaRPr>
          </a:p>
        </p:txBody>
      </p:sp>
      <p:cxnSp>
        <p:nvCxnSpPr>
          <p:cNvPr id="29" name="Straight Arrow Connector 28"/>
          <p:cNvCxnSpPr/>
          <p:nvPr/>
        </p:nvCxnSpPr>
        <p:spPr>
          <a:xfrm flipH="1">
            <a:off x="9651503" y="3280119"/>
            <a:ext cx="880311" cy="609743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0417" name="Picture 1" descr="/Users/zian/Library/Group Containers/UBF8T346G9.Office/msoclip1/01/33D54E7F-1DC9-AA41-A9BD-77D59E586D8F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86672" y="3942944"/>
            <a:ext cx="508000" cy="50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418" name="Picture 2" descr="/Users/zian/Library/Group Containers/UBF8T346G9.Office/msoclip1/01/FF945D0B-899E-9741-AB28-889A8B2A5A71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48937" y="3955915"/>
            <a:ext cx="508000" cy="558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2988462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11889400" y="6449335"/>
            <a:ext cx="300721" cy="338554"/>
          </a:xfrm>
          <a:prstGeom prst="rect">
            <a:avLst/>
          </a:prstGeom>
        </p:spPr>
        <p:txBody>
          <a:bodyPr/>
          <a:lstStyle/>
          <a:p>
            <a:pPr defTabSz="914377" hangingPunct="0"/>
            <a:fld id="{7DB1B327-4D8B-4363-B1F2-9ED0E4F4AAE4}" type="slidenum">
              <a:rPr lang="ru-RU" kern="0">
                <a:latin typeface="Calibri"/>
                <a:cs typeface="Calibri"/>
                <a:sym typeface="Calibri"/>
              </a:rPr>
              <a:pPr defTabSz="914377" hangingPunct="0"/>
              <a:t>14</a:t>
            </a:fld>
            <a:endParaRPr lang="ru-RU" kern="0">
              <a:latin typeface="Calibri"/>
              <a:cs typeface="Calibri"/>
              <a:sym typeface="Calibri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Построили все дерево</a:t>
            </a:r>
            <a:endParaRPr lang="en-US" dirty="0"/>
          </a:p>
        </p:txBody>
      </p:sp>
      <p:pic>
        <p:nvPicPr>
          <p:cNvPr id="5" name="Content Placeholder 4" descr="/Users/zian/Library/Group Containers/UBF8T346G9.Office/msoclip1/01/FF9BAD90-7A8E-6240-9C40-855FB54F971B.png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3229" y="1279320"/>
            <a:ext cx="6197600" cy="5156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Straight Connector 6"/>
          <p:cNvCxnSpPr/>
          <p:nvPr/>
        </p:nvCxnSpPr>
        <p:spPr>
          <a:xfrm>
            <a:off x="2226307" y="3784733"/>
            <a:ext cx="4342968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>
            <a:off x="1003229" y="1948329"/>
            <a:ext cx="74536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 hangingPunct="0"/>
            <a:r>
              <a:rPr lang="ru-RU" sz="2400" kern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t>1</a:t>
            </a:r>
            <a:endParaRPr lang="en-US" sz="2400" kern="0" dirty="0">
              <a:solidFill>
                <a:srgbClr val="000000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003229" y="5355172"/>
            <a:ext cx="74536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 hangingPunct="0"/>
            <a:r>
              <a:rPr lang="ru-RU" sz="2400" kern="0" dirty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t>0</a:t>
            </a:r>
            <a:endParaRPr lang="en-US" sz="2400" kern="0" dirty="0">
              <a:solidFill>
                <a:srgbClr val="000000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929390" y="6126169"/>
            <a:ext cx="74536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 hangingPunct="0"/>
            <a:r>
              <a:rPr lang="ru-RU" sz="2400" kern="0" dirty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t>0</a:t>
            </a:r>
            <a:endParaRPr lang="en-US" sz="2400" kern="0" dirty="0">
              <a:solidFill>
                <a:srgbClr val="000000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837946" y="6126169"/>
            <a:ext cx="74536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 hangingPunct="0"/>
            <a:r>
              <a:rPr lang="ru-RU" sz="2400" kern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t>1</a:t>
            </a:r>
            <a:endParaRPr lang="en-US" sz="2400" kern="0" dirty="0">
              <a:solidFill>
                <a:srgbClr val="000000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8595656" y="1226280"/>
            <a:ext cx="1936157" cy="722048"/>
          </a:xfrm>
          <a:prstGeom prst="rect">
            <a:avLst/>
          </a:prstGeom>
          <a:ln w="28575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7" hangingPunct="0"/>
            <a:r>
              <a:rPr lang="en-US" sz="2667" kern="0" dirty="0">
                <a:solidFill>
                  <a:srgbClr val="000000"/>
                </a:solidFill>
                <a:latin typeface="Helvetica"/>
                <a:sym typeface="Calibri"/>
              </a:rPr>
              <a:t>X2 &gt; 0.5</a:t>
            </a:r>
          </a:p>
        </p:txBody>
      </p:sp>
      <p:sp>
        <p:nvSpPr>
          <p:cNvPr id="14" name="Rectangle 13"/>
          <p:cNvSpPr/>
          <p:nvPr/>
        </p:nvSpPr>
        <p:spPr>
          <a:xfrm>
            <a:off x="7890880" y="2558071"/>
            <a:ext cx="1585088" cy="683099"/>
          </a:xfrm>
          <a:prstGeom prst="rect">
            <a:avLst/>
          </a:prstGeom>
          <a:ln w="28575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7" hangingPunct="0"/>
            <a:endParaRPr lang="en-US" sz="3733" kern="0" dirty="0">
              <a:solidFill>
                <a:srgbClr val="000000"/>
              </a:solidFill>
              <a:latin typeface="Helvetica"/>
              <a:sym typeface="Calibri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9739269" y="2558071"/>
            <a:ext cx="1585088" cy="683099"/>
          </a:xfrm>
          <a:prstGeom prst="rect">
            <a:avLst/>
          </a:prstGeom>
          <a:noFill/>
          <a:ln w="28575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7" hangingPunct="0"/>
            <a:endParaRPr lang="en-US" sz="3733" kern="0" dirty="0">
              <a:solidFill>
                <a:srgbClr val="000000"/>
              </a:solidFill>
              <a:latin typeface="Helvetica"/>
              <a:sym typeface="Calibri"/>
            </a:endParaRPr>
          </a:p>
        </p:txBody>
      </p:sp>
      <p:cxnSp>
        <p:nvCxnSpPr>
          <p:cNvPr id="16" name="Straight Arrow Connector 15"/>
          <p:cNvCxnSpPr>
            <a:stCxn id="13" idx="2"/>
            <a:endCxn id="15" idx="0"/>
          </p:cNvCxnSpPr>
          <p:nvPr/>
        </p:nvCxnSpPr>
        <p:spPr>
          <a:xfrm>
            <a:off x="9563735" y="1948329"/>
            <a:ext cx="968079" cy="609743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/>
          <p:cNvSpPr txBox="1"/>
          <p:nvPr/>
        </p:nvSpPr>
        <p:spPr>
          <a:xfrm>
            <a:off x="8299422" y="1948329"/>
            <a:ext cx="53091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77" hangingPunct="0"/>
            <a:r>
              <a:rPr lang="ru-RU" sz="2400" kern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t>Да</a:t>
            </a:r>
            <a:endParaRPr lang="en-US" sz="2400" kern="0" dirty="0">
              <a:solidFill>
                <a:srgbClr val="000000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10374486" y="1948329"/>
            <a:ext cx="64953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77" hangingPunct="0"/>
            <a:r>
              <a:rPr lang="ru-RU" sz="2400" kern="0" dirty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t>Нет</a:t>
            </a:r>
            <a:endParaRPr lang="en-US" sz="2400" kern="0" dirty="0">
              <a:solidFill>
                <a:srgbClr val="000000"/>
              </a:solidFill>
              <a:latin typeface="Calibri"/>
              <a:cs typeface="Calibri"/>
              <a:sym typeface="Calibri"/>
            </a:endParaRPr>
          </a:p>
        </p:txBody>
      </p:sp>
      <p:cxnSp>
        <p:nvCxnSpPr>
          <p:cNvPr id="19" name="Straight Arrow Connector 18"/>
          <p:cNvCxnSpPr>
            <a:stCxn id="13" idx="2"/>
            <a:endCxn id="14" idx="0"/>
          </p:cNvCxnSpPr>
          <p:nvPr/>
        </p:nvCxnSpPr>
        <p:spPr>
          <a:xfrm flipH="1">
            <a:off x="8683425" y="1948329"/>
            <a:ext cx="880311" cy="609743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>
          <a:xfrm flipH="1">
            <a:off x="3981856" y="3800597"/>
            <a:ext cx="14995" cy="2047017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/>
        </p:nvSpPr>
        <p:spPr>
          <a:xfrm>
            <a:off x="9783154" y="2572888"/>
            <a:ext cx="162897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 hangingPunct="0"/>
            <a:r>
              <a:rPr lang="en-US" sz="3200" kern="0" dirty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t>X1 &gt; 0.4</a:t>
            </a:r>
          </a:p>
        </p:txBody>
      </p:sp>
      <p:cxnSp>
        <p:nvCxnSpPr>
          <p:cNvPr id="26" name="Straight Arrow Connector 25"/>
          <p:cNvCxnSpPr/>
          <p:nvPr/>
        </p:nvCxnSpPr>
        <p:spPr>
          <a:xfrm>
            <a:off x="10531814" y="3280119"/>
            <a:ext cx="968079" cy="609743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/>
        </p:nvSpPr>
        <p:spPr>
          <a:xfrm>
            <a:off x="9267501" y="3280120"/>
            <a:ext cx="53091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77" hangingPunct="0"/>
            <a:r>
              <a:rPr lang="ru-RU" sz="2400" kern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t>Да</a:t>
            </a:r>
            <a:endParaRPr lang="en-US" sz="2400" kern="0" dirty="0">
              <a:solidFill>
                <a:srgbClr val="000000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11342565" y="3280120"/>
            <a:ext cx="64953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77" hangingPunct="0"/>
            <a:r>
              <a:rPr lang="ru-RU" sz="2400" kern="0" dirty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t>Нет</a:t>
            </a:r>
            <a:endParaRPr lang="en-US" sz="2400" kern="0" dirty="0">
              <a:solidFill>
                <a:srgbClr val="000000"/>
              </a:solidFill>
              <a:latin typeface="Calibri"/>
              <a:cs typeface="Calibri"/>
              <a:sym typeface="Calibri"/>
            </a:endParaRPr>
          </a:p>
        </p:txBody>
      </p:sp>
      <p:cxnSp>
        <p:nvCxnSpPr>
          <p:cNvPr id="29" name="Straight Arrow Connector 28"/>
          <p:cNvCxnSpPr/>
          <p:nvPr/>
        </p:nvCxnSpPr>
        <p:spPr>
          <a:xfrm flipH="1">
            <a:off x="9651503" y="3280119"/>
            <a:ext cx="880311" cy="609743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0417" name="Picture 1" descr="/Users/zian/Library/Group Containers/UBF8T346G9.Office/msoclip1/01/33D54E7F-1DC9-AA41-A9BD-77D59E586D8F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86672" y="3942944"/>
            <a:ext cx="508000" cy="50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418" name="Picture 2" descr="/Users/zian/Library/Group Containers/UBF8T346G9.Office/msoclip1/01/FF945D0B-899E-9741-AB28-889A8B2A5A71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48937" y="3955915"/>
            <a:ext cx="508000" cy="558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0" name="Straight Connector 29"/>
          <p:cNvCxnSpPr/>
          <p:nvPr/>
        </p:nvCxnSpPr>
        <p:spPr>
          <a:xfrm>
            <a:off x="4153398" y="1587304"/>
            <a:ext cx="19172" cy="2197429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/>
        </p:nvCxnSpPr>
        <p:spPr>
          <a:xfrm flipH="1">
            <a:off x="2226309" y="2686019"/>
            <a:ext cx="1915377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/>
        </p:nvCxnSpPr>
        <p:spPr>
          <a:xfrm flipH="1" flipV="1">
            <a:off x="3229583" y="2686020"/>
            <a:ext cx="31792" cy="1114577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4" name="Rectangle 43"/>
          <p:cNvSpPr/>
          <p:nvPr/>
        </p:nvSpPr>
        <p:spPr>
          <a:xfrm>
            <a:off x="3933219" y="3784733"/>
            <a:ext cx="2636055" cy="2062880"/>
          </a:xfrm>
          <a:prstGeom prst="rect">
            <a:avLst/>
          </a:prstGeom>
          <a:solidFill>
            <a:srgbClr val="8DFF43">
              <a:alpha val="29804"/>
            </a:srgbClr>
          </a:solidFill>
          <a:ln w="28575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7" hangingPunct="0"/>
            <a:endParaRPr lang="en-US" sz="3733" kern="0" dirty="0">
              <a:solidFill>
                <a:srgbClr val="000000"/>
              </a:solidFill>
              <a:latin typeface="Helvetica"/>
              <a:sym typeface="Calibri"/>
            </a:endParaRPr>
          </a:p>
        </p:txBody>
      </p:sp>
      <p:sp>
        <p:nvSpPr>
          <p:cNvPr id="45" name="Rectangle 44"/>
          <p:cNvSpPr/>
          <p:nvPr/>
        </p:nvSpPr>
        <p:spPr>
          <a:xfrm>
            <a:off x="3246645" y="2701882"/>
            <a:ext cx="895041" cy="1066991"/>
          </a:xfrm>
          <a:prstGeom prst="rect">
            <a:avLst/>
          </a:prstGeom>
          <a:solidFill>
            <a:srgbClr val="8DFF43">
              <a:alpha val="29804"/>
            </a:srgbClr>
          </a:solidFill>
          <a:ln w="28575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7" hangingPunct="0"/>
            <a:endParaRPr lang="en-US" sz="3733" kern="0" dirty="0">
              <a:solidFill>
                <a:srgbClr val="000000"/>
              </a:solidFill>
              <a:latin typeface="Helvetica"/>
              <a:sym typeface="Calibri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7890881" y="2588630"/>
            <a:ext cx="162897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 hangingPunct="0"/>
            <a:r>
              <a:rPr lang="mr-IN" sz="3200" kern="0" dirty="0">
                <a:solidFill>
                  <a:srgbClr val="000000"/>
                </a:solidFill>
                <a:latin typeface="Calibri"/>
                <a:sym typeface="Calibri"/>
              </a:rPr>
              <a:t>…</a:t>
            </a:r>
            <a:endParaRPr lang="en-US" sz="3200" kern="0" dirty="0">
              <a:solidFill>
                <a:srgbClr val="000000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8932594" y="5778919"/>
            <a:ext cx="175721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77" hangingPunct="0"/>
            <a:r>
              <a:rPr lang="ru-RU" sz="2800" kern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t>0 ошибок!</a:t>
            </a:r>
            <a:endParaRPr lang="en-US" sz="2800" kern="0" dirty="0">
              <a:solidFill>
                <a:srgbClr val="000000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51" name="Rectangle 50"/>
          <p:cNvSpPr/>
          <p:nvPr/>
        </p:nvSpPr>
        <p:spPr>
          <a:xfrm>
            <a:off x="7390036" y="3719087"/>
            <a:ext cx="465449" cy="341549"/>
          </a:xfrm>
          <a:prstGeom prst="rect">
            <a:avLst/>
          </a:prstGeom>
          <a:ln w="28575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7" hangingPunct="0"/>
            <a:endParaRPr lang="en-US" sz="3733" kern="0" dirty="0">
              <a:solidFill>
                <a:srgbClr val="000000"/>
              </a:solidFill>
              <a:latin typeface="Helvetica"/>
              <a:sym typeface="Calibri"/>
            </a:endParaRPr>
          </a:p>
        </p:txBody>
      </p:sp>
      <p:sp>
        <p:nvSpPr>
          <p:cNvPr id="52" name="Rectangle 51"/>
          <p:cNvSpPr/>
          <p:nvPr/>
        </p:nvSpPr>
        <p:spPr>
          <a:xfrm>
            <a:off x="8338800" y="3719087"/>
            <a:ext cx="501953" cy="341549"/>
          </a:xfrm>
          <a:prstGeom prst="rect">
            <a:avLst/>
          </a:prstGeom>
          <a:noFill/>
          <a:ln w="28575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7" hangingPunct="0"/>
            <a:endParaRPr lang="en-US" sz="3733" kern="0" dirty="0">
              <a:solidFill>
                <a:srgbClr val="000000"/>
              </a:solidFill>
              <a:latin typeface="Helvetica"/>
              <a:sym typeface="Calibri"/>
            </a:endParaRPr>
          </a:p>
        </p:txBody>
      </p:sp>
      <p:cxnSp>
        <p:nvCxnSpPr>
          <p:cNvPr id="53" name="Straight Arrow Connector 52"/>
          <p:cNvCxnSpPr>
            <a:endCxn id="52" idx="0"/>
          </p:cNvCxnSpPr>
          <p:nvPr/>
        </p:nvCxnSpPr>
        <p:spPr>
          <a:xfrm flipH="1">
            <a:off x="8589777" y="3243130"/>
            <a:ext cx="7521" cy="475957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Arrow Connector 53"/>
          <p:cNvCxnSpPr>
            <a:endCxn id="51" idx="0"/>
          </p:cNvCxnSpPr>
          <p:nvPr/>
        </p:nvCxnSpPr>
        <p:spPr>
          <a:xfrm flipH="1">
            <a:off x="7622761" y="3243130"/>
            <a:ext cx="974540" cy="475957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tangle 58"/>
          <p:cNvSpPr/>
          <p:nvPr/>
        </p:nvSpPr>
        <p:spPr>
          <a:xfrm>
            <a:off x="7350658" y="4554338"/>
            <a:ext cx="465449" cy="341549"/>
          </a:xfrm>
          <a:prstGeom prst="rect">
            <a:avLst/>
          </a:prstGeom>
          <a:ln w="28575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7" hangingPunct="0"/>
            <a:endParaRPr lang="en-US" sz="3733" kern="0" dirty="0">
              <a:solidFill>
                <a:srgbClr val="000000"/>
              </a:solidFill>
              <a:latin typeface="Helvetica"/>
              <a:sym typeface="Calibri"/>
            </a:endParaRPr>
          </a:p>
        </p:txBody>
      </p:sp>
      <p:sp>
        <p:nvSpPr>
          <p:cNvPr id="60" name="Rectangle 59"/>
          <p:cNvSpPr/>
          <p:nvPr/>
        </p:nvSpPr>
        <p:spPr>
          <a:xfrm>
            <a:off x="8299422" y="4554338"/>
            <a:ext cx="501953" cy="341549"/>
          </a:xfrm>
          <a:prstGeom prst="rect">
            <a:avLst/>
          </a:prstGeom>
          <a:noFill/>
          <a:ln w="28575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7" hangingPunct="0"/>
            <a:endParaRPr lang="en-US" sz="3733" kern="0" dirty="0">
              <a:solidFill>
                <a:srgbClr val="000000"/>
              </a:solidFill>
              <a:latin typeface="Helvetica"/>
              <a:sym typeface="Calibri"/>
            </a:endParaRPr>
          </a:p>
        </p:txBody>
      </p:sp>
      <p:cxnSp>
        <p:nvCxnSpPr>
          <p:cNvPr id="61" name="Straight Arrow Connector 60"/>
          <p:cNvCxnSpPr/>
          <p:nvPr/>
        </p:nvCxnSpPr>
        <p:spPr>
          <a:xfrm flipH="1">
            <a:off x="8550400" y="4078380"/>
            <a:ext cx="7521" cy="475957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Arrow Connector 61"/>
          <p:cNvCxnSpPr/>
          <p:nvPr/>
        </p:nvCxnSpPr>
        <p:spPr>
          <a:xfrm flipH="1">
            <a:off x="7583383" y="4078380"/>
            <a:ext cx="974540" cy="475957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Rectangle 62"/>
          <p:cNvSpPr/>
          <p:nvPr/>
        </p:nvSpPr>
        <p:spPr>
          <a:xfrm>
            <a:off x="7352202" y="5370843"/>
            <a:ext cx="465449" cy="341549"/>
          </a:xfrm>
          <a:prstGeom prst="rect">
            <a:avLst/>
          </a:prstGeom>
          <a:ln w="28575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7" hangingPunct="0"/>
            <a:endParaRPr lang="en-US" sz="3733" kern="0" dirty="0">
              <a:solidFill>
                <a:srgbClr val="000000"/>
              </a:solidFill>
              <a:latin typeface="Helvetica"/>
              <a:sym typeface="Calibri"/>
            </a:endParaRPr>
          </a:p>
        </p:txBody>
      </p:sp>
      <p:sp>
        <p:nvSpPr>
          <p:cNvPr id="64" name="Rectangle 63"/>
          <p:cNvSpPr/>
          <p:nvPr/>
        </p:nvSpPr>
        <p:spPr>
          <a:xfrm>
            <a:off x="8300966" y="5370843"/>
            <a:ext cx="501953" cy="341549"/>
          </a:xfrm>
          <a:prstGeom prst="rect">
            <a:avLst/>
          </a:prstGeom>
          <a:noFill/>
          <a:ln w="28575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7" hangingPunct="0"/>
            <a:endParaRPr lang="en-US" sz="3733" kern="0" dirty="0">
              <a:solidFill>
                <a:srgbClr val="000000"/>
              </a:solidFill>
              <a:latin typeface="Helvetica"/>
              <a:sym typeface="Calibri"/>
            </a:endParaRPr>
          </a:p>
        </p:txBody>
      </p:sp>
      <p:cxnSp>
        <p:nvCxnSpPr>
          <p:cNvPr id="65" name="Straight Arrow Connector 64"/>
          <p:cNvCxnSpPr/>
          <p:nvPr/>
        </p:nvCxnSpPr>
        <p:spPr>
          <a:xfrm flipH="1">
            <a:off x="8551944" y="4894886"/>
            <a:ext cx="7521" cy="475957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Arrow Connector 65"/>
          <p:cNvCxnSpPr/>
          <p:nvPr/>
        </p:nvCxnSpPr>
        <p:spPr>
          <a:xfrm flipH="1">
            <a:off x="7584927" y="4894886"/>
            <a:ext cx="974540" cy="475957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6045556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В предыдущий раз скорее всего переобучились!</a:t>
            </a:r>
            <a:endParaRPr lang="en-US" dirty="0"/>
          </a:p>
        </p:txBody>
      </p:sp>
      <p:pic>
        <p:nvPicPr>
          <p:cNvPr id="5" name="Content Placeholder 4" descr="/Users/zian/Library/Group Containers/UBF8T346G9.Office/msoclip1/01/FF9BAD90-7A8E-6240-9C40-855FB54F971B.png"/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3229" y="1279320"/>
            <a:ext cx="6197600" cy="5156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Straight Connector 6"/>
          <p:cNvCxnSpPr/>
          <p:nvPr/>
        </p:nvCxnSpPr>
        <p:spPr>
          <a:xfrm>
            <a:off x="2226307" y="3784733"/>
            <a:ext cx="4342968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>
            <a:off x="1003229" y="1948329"/>
            <a:ext cx="74536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 hangingPunct="0"/>
            <a:r>
              <a:rPr lang="ru-RU" sz="2400" kern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t>1</a:t>
            </a:r>
            <a:endParaRPr lang="en-US" sz="2400" kern="0" dirty="0">
              <a:solidFill>
                <a:srgbClr val="000000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003229" y="5355172"/>
            <a:ext cx="74536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 hangingPunct="0"/>
            <a:r>
              <a:rPr lang="ru-RU" sz="2400" kern="0" dirty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t>0</a:t>
            </a:r>
            <a:endParaRPr lang="en-US" sz="2400" kern="0" dirty="0">
              <a:solidFill>
                <a:srgbClr val="000000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929390" y="6126169"/>
            <a:ext cx="74536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 hangingPunct="0"/>
            <a:r>
              <a:rPr lang="ru-RU" sz="2400" kern="0" dirty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t>0</a:t>
            </a:r>
            <a:endParaRPr lang="en-US" sz="2400" kern="0" dirty="0">
              <a:solidFill>
                <a:srgbClr val="000000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837946" y="6126169"/>
            <a:ext cx="74536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 hangingPunct="0"/>
            <a:r>
              <a:rPr lang="ru-RU" sz="2400" kern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t>1</a:t>
            </a:r>
            <a:endParaRPr lang="en-US" sz="2400" kern="0" dirty="0">
              <a:solidFill>
                <a:srgbClr val="000000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8595656" y="1226280"/>
            <a:ext cx="1936157" cy="722048"/>
          </a:xfrm>
          <a:prstGeom prst="rect">
            <a:avLst/>
          </a:prstGeom>
          <a:ln w="28575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7" hangingPunct="0"/>
            <a:r>
              <a:rPr lang="en-US" sz="2667" kern="0" dirty="0">
                <a:solidFill>
                  <a:srgbClr val="000000"/>
                </a:solidFill>
                <a:latin typeface="Helvetica"/>
                <a:sym typeface="Calibri"/>
              </a:rPr>
              <a:t>X2 &gt; 0.5</a:t>
            </a:r>
          </a:p>
        </p:txBody>
      </p:sp>
      <p:sp>
        <p:nvSpPr>
          <p:cNvPr id="15" name="Rectangle 14"/>
          <p:cNvSpPr/>
          <p:nvPr/>
        </p:nvSpPr>
        <p:spPr>
          <a:xfrm>
            <a:off x="9739269" y="2558071"/>
            <a:ext cx="1585088" cy="683099"/>
          </a:xfrm>
          <a:prstGeom prst="rect">
            <a:avLst/>
          </a:prstGeom>
          <a:noFill/>
          <a:ln w="28575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7" hangingPunct="0"/>
            <a:endParaRPr lang="en-US" sz="3733" kern="0" dirty="0">
              <a:solidFill>
                <a:srgbClr val="000000"/>
              </a:solidFill>
              <a:latin typeface="Helvetica"/>
              <a:sym typeface="Calibri"/>
            </a:endParaRPr>
          </a:p>
        </p:txBody>
      </p:sp>
      <p:cxnSp>
        <p:nvCxnSpPr>
          <p:cNvPr id="16" name="Straight Arrow Connector 15"/>
          <p:cNvCxnSpPr>
            <a:stCxn id="13" idx="2"/>
            <a:endCxn id="15" idx="0"/>
          </p:cNvCxnSpPr>
          <p:nvPr/>
        </p:nvCxnSpPr>
        <p:spPr>
          <a:xfrm>
            <a:off x="9563735" y="1948329"/>
            <a:ext cx="968079" cy="609743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/>
          <p:cNvSpPr txBox="1"/>
          <p:nvPr/>
        </p:nvSpPr>
        <p:spPr>
          <a:xfrm>
            <a:off x="8299422" y="1948329"/>
            <a:ext cx="53091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77" hangingPunct="0"/>
            <a:r>
              <a:rPr lang="ru-RU" sz="2400" kern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t>Да</a:t>
            </a:r>
            <a:endParaRPr lang="en-US" sz="2400" kern="0" dirty="0">
              <a:solidFill>
                <a:srgbClr val="000000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10374486" y="1948329"/>
            <a:ext cx="64953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77" hangingPunct="0"/>
            <a:r>
              <a:rPr lang="ru-RU" sz="2400" kern="0" dirty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t>Нет</a:t>
            </a:r>
            <a:endParaRPr lang="en-US" sz="2400" kern="0" dirty="0">
              <a:solidFill>
                <a:srgbClr val="000000"/>
              </a:solidFill>
              <a:latin typeface="Calibri"/>
              <a:cs typeface="Calibri"/>
              <a:sym typeface="Calibri"/>
            </a:endParaRPr>
          </a:p>
        </p:txBody>
      </p:sp>
      <p:cxnSp>
        <p:nvCxnSpPr>
          <p:cNvPr id="19" name="Straight Arrow Connector 18"/>
          <p:cNvCxnSpPr>
            <a:stCxn id="13" idx="2"/>
          </p:cNvCxnSpPr>
          <p:nvPr/>
        </p:nvCxnSpPr>
        <p:spPr>
          <a:xfrm flipH="1">
            <a:off x="8683425" y="1948329"/>
            <a:ext cx="880311" cy="609743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>
          <a:xfrm flipH="1">
            <a:off x="3981856" y="3800597"/>
            <a:ext cx="14995" cy="2047017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/>
        </p:nvSpPr>
        <p:spPr>
          <a:xfrm>
            <a:off x="9783154" y="2572888"/>
            <a:ext cx="162897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 hangingPunct="0"/>
            <a:r>
              <a:rPr lang="en-US" sz="3200" kern="0" dirty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t>X1 &gt; 0.4</a:t>
            </a:r>
          </a:p>
        </p:txBody>
      </p:sp>
      <p:cxnSp>
        <p:nvCxnSpPr>
          <p:cNvPr id="26" name="Straight Arrow Connector 25"/>
          <p:cNvCxnSpPr/>
          <p:nvPr/>
        </p:nvCxnSpPr>
        <p:spPr>
          <a:xfrm>
            <a:off x="10531814" y="3280119"/>
            <a:ext cx="968079" cy="609743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/>
        </p:nvSpPr>
        <p:spPr>
          <a:xfrm>
            <a:off x="9267501" y="3280120"/>
            <a:ext cx="53091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77" hangingPunct="0"/>
            <a:r>
              <a:rPr lang="ru-RU" sz="2400" kern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t>Да</a:t>
            </a:r>
            <a:endParaRPr lang="en-US" sz="2400" kern="0" dirty="0">
              <a:solidFill>
                <a:srgbClr val="000000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11342565" y="3280120"/>
            <a:ext cx="64953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77" hangingPunct="0"/>
            <a:r>
              <a:rPr lang="ru-RU" sz="2400" kern="0" dirty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t>Нет</a:t>
            </a:r>
            <a:endParaRPr lang="en-US" sz="2400" kern="0" dirty="0">
              <a:solidFill>
                <a:srgbClr val="000000"/>
              </a:solidFill>
              <a:latin typeface="Calibri"/>
              <a:cs typeface="Calibri"/>
              <a:sym typeface="Calibri"/>
            </a:endParaRPr>
          </a:p>
        </p:txBody>
      </p:sp>
      <p:cxnSp>
        <p:nvCxnSpPr>
          <p:cNvPr id="29" name="Straight Arrow Connector 28"/>
          <p:cNvCxnSpPr/>
          <p:nvPr/>
        </p:nvCxnSpPr>
        <p:spPr>
          <a:xfrm flipH="1">
            <a:off x="9651503" y="3280119"/>
            <a:ext cx="880311" cy="609743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0417" name="Picture 1" descr="/Users/zian/Library/Group Containers/UBF8T346G9.Office/msoclip1/01/33D54E7F-1DC9-AA41-A9BD-77D59E586D8F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86672" y="3942944"/>
            <a:ext cx="508000" cy="50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418" name="Picture 2" descr="/Users/zian/Library/Group Containers/UBF8T346G9.Office/msoclip1/01/FF945D0B-899E-9741-AB28-889A8B2A5A71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48937" y="3955915"/>
            <a:ext cx="508000" cy="558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4" name="Rectangle 43"/>
          <p:cNvSpPr/>
          <p:nvPr/>
        </p:nvSpPr>
        <p:spPr>
          <a:xfrm>
            <a:off x="3933219" y="3784733"/>
            <a:ext cx="2636055" cy="2062880"/>
          </a:xfrm>
          <a:prstGeom prst="rect">
            <a:avLst/>
          </a:prstGeom>
          <a:solidFill>
            <a:srgbClr val="8DFF43">
              <a:alpha val="29804"/>
            </a:srgbClr>
          </a:solidFill>
          <a:ln w="28575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7" hangingPunct="0"/>
            <a:endParaRPr lang="en-US" sz="3733" kern="0" dirty="0">
              <a:solidFill>
                <a:srgbClr val="000000"/>
              </a:solidFill>
              <a:latin typeface="Helvetica"/>
              <a:sym typeface="Calibri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8409104" y="4832488"/>
            <a:ext cx="310304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 hangingPunct="0"/>
            <a:r>
              <a:rPr lang="ru-RU" sz="2800" kern="0" dirty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t>1 ошибка</a:t>
            </a:r>
            <a:endParaRPr lang="en-US" sz="2800" kern="0" dirty="0">
              <a:solidFill>
                <a:srgbClr val="000000"/>
              </a:solidFill>
              <a:latin typeface="Calibri"/>
              <a:cs typeface="Calibri"/>
              <a:sym typeface="Calibri"/>
            </a:endParaRPr>
          </a:p>
        </p:txBody>
      </p:sp>
      <p:pic>
        <p:nvPicPr>
          <p:cNvPr id="46" name="Picture 2" descr="/Users/zian/Library/Group Containers/UBF8T346G9.Office/msoclip1/01/FF945D0B-899E-9741-AB28-889A8B2A5A71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8063" y="2619523"/>
            <a:ext cx="508000" cy="558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7866783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11889400" y="6449335"/>
            <a:ext cx="300721" cy="338554"/>
          </a:xfrm>
          <a:prstGeom prst="rect">
            <a:avLst/>
          </a:prstGeom>
        </p:spPr>
        <p:txBody>
          <a:bodyPr/>
          <a:lstStyle/>
          <a:p>
            <a:pPr defTabSz="914377" hangingPunct="0"/>
            <a:fld id="{7DB1B327-4D8B-4363-B1F2-9ED0E4F4AAE4}" type="slidenum">
              <a:rPr lang="ru-RU" kern="0">
                <a:latin typeface="Calibri"/>
                <a:cs typeface="Calibri"/>
                <a:sym typeface="Calibri"/>
              </a:rPr>
              <a:pPr defTabSz="914377" hangingPunct="0"/>
              <a:t>16</a:t>
            </a:fld>
            <a:endParaRPr lang="ru-RU" kern="0">
              <a:latin typeface="Calibri"/>
              <a:cs typeface="Calibri"/>
              <a:sym typeface="Calibri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Решающее дерево для регрессии</a:t>
            </a:r>
            <a:endParaRPr lang="en-US" dirty="0"/>
          </a:p>
        </p:txBody>
      </p:sp>
      <p:pic>
        <p:nvPicPr>
          <p:cNvPr id="63489" name="Picture 1" descr="/Users/zian/Library/Group Containers/UBF8T346G9.Office/msoclip1/01/BDC9F2C5-C793-7E43-BAB5-ECAAE5310AE1.png"/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540" y="1332823"/>
            <a:ext cx="6117025" cy="49415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4339506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11889400" y="6449335"/>
            <a:ext cx="300721" cy="338554"/>
          </a:xfrm>
          <a:prstGeom prst="rect">
            <a:avLst/>
          </a:prstGeom>
        </p:spPr>
        <p:txBody>
          <a:bodyPr/>
          <a:lstStyle/>
          <a:p>
            <a:pPr defTabSz="914377" hangingPunct="0"/>
            <a:fld id="{7DB1B327-4D8B-4363-B1F2-9ED0E4F4AAE4}" type="slidenum">
              <a:rPr lang="ru-RU" kern="0">
                <a:latin typeface="Calibri"/>
                <a:cs typeface="Calibri"/>
                <a:sym typeface="Calibri"/>
              </a:rPr>
              <a:pPr defTabSz="914377" hangingPunct="0"/>
              <a:t>17</a:t>
            </a:fld>
            <a:endParaRPr lang="ru-RU" kern="0">
              <a:latin typeface="Calibri"/>
              <a:cs typeface="Calibri"/>
              <a:sym typeface="Calibri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Первое лучшее разбиение</a:t>
            </a:r>
            <a:endParaRPr lang="en-US" dirty="0"/>
          </a:p>
        </p:txBody>
      </p:sp>
      <p:pic>
        <p:nvPicPr>
          <p:cNvPr id="64513" name="Picture 1" descr="/Users/zian/Library/Group Containers/UBF8T346G9.Office/msoclip1/01/23EC917B-5FA5-044F-853D-4A2D1F88E8DF.png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3033" y="1195711"/>
            <a:ext cx="6214739" cy="5422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6"/>
          <p:cNvSpPr/>
          <p:nvPr/>
        </p:nvSpPr>
        <p:spPr>
          <a:xfrm>
            <a:off x="8595656" y="1226280"/>
            <a:ext cx="1936157" cy="722048"/>
          </a:xfrm>
          <a:prstGeom prst="rect">
            <a:avLst/>
          </a:prstGeom>
          <a:ln w="28575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7" hangingPunct="0"/>
            <a:r>
              <a:rPr lang="en-US" sz="3733" kern="0" dirty="0">
                <a:solidFill>
                  <a:srgbClr val="000000"/>
                </a:solidFill>
                <a:latin typeface="Helvetica"/>
                <a:sym typeface="Calibri"/>
              </a:rPr>
              <a:t>X &gt; 0.5</a:t>
            </a:r>
          </a:p>
        </p:txBody>
      </p:sp>
      <p:cxnSp>
        <p:nvCxnSpPr>
          <p:cNvPr id="9" name="Straight Arrow Connector 8"/>
          <p:cNvCxnSpPr/>
          <p:nvPr/>
        </p:nvCxnSpPr>
        <p:spPr>
          <a:xfrm>
            <a:off x="9563735" y="1948329"/>
            <a:ext cx="968079" cy="609743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8241528" y="1951737"/>
            <a:ext cx="64953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77" hangingPunct="0"/>
            <a:r>
              <a:rPr lang="ru-RU" sz="2400" kern="0" dirty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t>Нет</a:t>
            </a:r>
            <a:endParaRPr lang="en-US" sz="2400" kern="0" dirty="0">
              <a:solidFill>
                <a:srgbClr val="000000"/>
              </a:solidFill>
              <a:latin typeface="Calibri"/>
              <a:cs typeface="Calibri"/>
              <a:sym typeface="Calibri"/>
            </a:endParaRPr>
          </a:p>
        </p:txBody>
      </p:sp>
      <p:cxnSp>
        <p:nvCxnSpPr>
          <p:cNvPr id="12" name="Straight Arrow Connector 11"/>
          <p:cNvCxnSpPr/>
          <p:nvPr/>
        </p:nvCxnSpPr>
        <p:spPr>
          <a:xfrm flipH="1">
            <a:off x="8683425" y="1948329"/>
            <a:ext cx="880311" cy="609743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10368675" y="2582095"/>
            <a:ext cx="174736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 hangingPunct="0"/>
            <a:r>
              <a:rPr lang="ru-RU" sz="3200" kern="0" dirty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t>0</a:t>
            </a:r>
            <a:r>
              <a:rPr lang="en-US" sz="3200" kern="0" dirty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t>.</a:t>
            </a:r>
            <a:r>
              <a:rPr lang="ru-RU" sz="3200" kern="0" dirty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t>4</a:t>
            </a:r>
            <a:endParaRPr lang="en-US" sz="3200" kern="0" dirty="0">
              <a:solidFill>
                <a:srgbClr val="000000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8083068" y="2558071"/>
            <a:ext cx="174736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 hangingPunct="0"/>
            <a:r>
              <a:rPr lang="ru-RU" sz="3200" kern="0" dirty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t>0</a:t>
            </a:r>
            <a:r>
              <a:rPr lang="en-US" sz="3200" kern="0" dirty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t>.</a:t>
            </a:r>
            <a:r>
              <a:rPr lang="ru-RU" sz="3200" kern="0" dirty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t>5</a:t>
            </a:r>
            <a:endParaRPr lang="en-US" sz="3200" kern="0" dirty="0">
              <a:solidFill>
                <a:srgbClr val="000000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10368675" y="1951737"/>
            <a:ext cx="53091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77" hangingPunct="0"/>
            <a:r>
              <a:rPr lang="ru-RU" sz="2400" kern="0" dirty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t>Да</a:t>
            </a:r>
            <a:endParaRPr lang="en-US" sz="2400" kern="0" dirty="0">
              <a:solidFill>
                <a:srgbClr val="000000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9739270" y="3449947"/>
            <a:ext cx="187160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 hangingPunct="0"/>
            <a:r>
              <a:rPr lang="ru-RU" sz="2400" kern="0" dirty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t>Продолжим эту ветку</a:t>
            </a:r>
            <a:endParaRPr lang="en-US" sz="2400" kern="0" dirty="0">
              <a:solidFill>
                <a:srgbClr val="000000"/>
              </a:solidFill>
              <a:latin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48359214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11889400" y="6449335"/>
            <a:ext cx="300721" cy="338554"/>
          </a:xfrm>
          <a:prstGeom prst="rect">
            <a:avLst/>
          </a:prstGeom>
        </p:spPr>
        <p:txBody>
          <a:bodyPr/>
          <a:lstStyle/>
          <a:p>
            <a:pPr defTabSz="914377" hangingPunct="0"/>
            <a:fld id="{7DB1B327-4D8B-4363-B1F2-9ED0E4F4AAE4}" type="slidenum">
              <a:rPr lang="ru-RU" kern="0">
                <a:latin typeface="Calibri"/>
                <a:cs typeface="Calibri"/>
                <a:sym typeface="Calibri"/>
              </a:rPr>
              <a:pPr defTabSz="914377" hangingPunct="0"/>
              <a:t>18</a:t>
            </a:fld>
            <a:endParaRPr lang="ru-RU" kern="0">
              <a:latin typeface="Calibri"/>
              <a:cs typeface="Calibri"/>
              <a:sym typeface="Calibri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Второе лучшее разбиение</a:t>
            </a:r>
            <a:endParaRPr lang="en-US" dirty="0"/>
          </a:p>
        </p:txBody>
      </p:sp>
      <p:pic>
        <p:nvPicPr>
          <p:cNvPr id="6" name="Content Placeholder 5" descr="/Users/zian/Library/Group Containers/UBF8T346G9.Office/msoclip1/01/976A5AD1-B97E-9E45-A59C-59194814A376.png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853" y="1323986"/>
            <a:ext cx="6356368" cy="52929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6"/>
          <p:cNvSpPr/>
          <p:nvPr/>
        </p:nvSpPr>
        <p:spPr>
          <a:xfrm>
            <a:off x="8595656" y="1226280"/>
            <a:ext cx="1936157" cy="722048"/>
          </a:xfrm>
          <a:prstGeom prst="rect">
            <a:avLst/>
          </a:prstGeom>
          <a:ln w="28575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7" hangingPunct="0"/>
            <a:r>
              <a:rPr lang="en-US" sz="3733" kern="0" dirty="0">
                <a:solidFill>
                  <a:srgbClr val="000000"/>
                </a:solidFill>
                <a:latin typeface="Helvetica"/>
                <a:sym typeface="Calibri"/>
              </a:rPr>
              <a:t>X &gt; 0.5</a:t>
            </a:r>
          </a:p>
        </p:txBody>
      </p:sp>
      <p:cxnSp>
        <p:nvCxnSpPr>
          <p:cNvPr id="8" name="Straight Arrow Connector 7"/>
          <p:cNvCxnSpPr/>
          <p:nvPr/>
        </p:nvCxnSpPr>
        <p:spPr>
          <a:xfrm>
            <a:off x="9563735" y="1948329"/>
            <a:ext cx="968079" cy="609743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>
            <a:off x="8241528" y="1951737"/>
            <a:ext cx="64953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77" hangingPunct="0"/>
            <a:r>
              <a:rPr lang="ru-RU" sz="2400" kern="0" dirty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t>Нет</a:t>
            </a:r>
            <a:endParaRPr lang="en-US" sz="2400" kern="0" dirty="0">
              <a:solidFill>
                <a:srgbClr val="000000"/>
              </a:solidFill>
              <a:latin typeface="Calibri"/>
              <a:cs typeface="Calibri"/>
              <a:sym typeface="Calibri"/>
            </a:endParaRPr>
          </a:p>
        </p:txBody>
      </p:sp>
      <p:cxnSp>
        <p:nvCxnSpPr>
          <p:cNvPr id="10" name="Straight Arrow Connector 9"/>
          <p:cNvCxnSpPr/>
          <p:nvPr/>
        </p:nvCxnSpPr>
        <p:spPr>
          <a:xfrm flipH="1">
            <a:off x="8683425" y="1948329"/>
            <a:ext cx="880311" cy="609743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8083068" y="2558071"/>
            <a:ext cx="174736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 hangingPunct="0"/>
            <a:r>
              <a:rPr lang="ru-RU" sz="3200" kern="0" dirty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t>0.5</a:t>
            </a:r>
            <a:endParaRPr lang="en-US" sz="3200" kern="0" dirty="0">
              <a:solidFill>
                <a:srgbClr val="000000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0368675" y="1951737"/>
            <a:ext cx="53091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77" hangingPunct="0"/>
            <a:r>
              <a:rPr lang="ru-RU" sz="2400" kern="0" dirty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t>Да</a:t>
            </a:r>
            <a:endParaRPr lang="en-US" sz="2400" kern="0" dirty="0">
              <a:solidFill>
                <a:srgbClr val="000000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9651503" y="2558071"/>
            <a:ext cx="1936157" cy="722048"/>
          </a:xfrm>
          <a:prstGeom prst="rect">
            <a:avLst/>
          </a:prstGeom>
          <a:ln w="28575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7" hangingPunct="0"/>
            <a:r>
              <a:rPr lang="en-US" sz="3733" kern="0" dirty="0">
                <a:solidFill>
                  <a:srgbClr val="000000"/>
                </a:solidFill>
                <a:latin typeface="Helvetica"/>
                <a:sym typeface="Calibri"/>
              </a:rPr>
              <a:t>X &gt; 0.</a:t>
            </a:r>
            <a:r>
              <a:rPr lang="ru-RU" sz="3733" kern="0" dirty="0">
                <a:solidFill>
                  <a:srgbClr val="000000"/>
                </a:solidFill>
                <a:latin typeface="Helvetica"/>
                <a:sym typeface="Calibri"/>
              </a:rPr>
              <a:t>8</a:t>
            </a:r>
            <a:endParaRPr lang="en-US" sz="3733" kern="0" dirty="0">
              <a:solidFill>
                <a:srgbClr val="000000"/>
              </a:solidFill>
              <a:latin typeface="Helvetica"/>
              <a:sym typeface="Calibri"/>
            </a:endParaRPr>
          </a:p>
        </p:txBody>
      </p:sp>
      <p:cxnSp>
        <p:nvCxnSpPr>
          <p:cNvPr id="15" name="Straight Arrow Connector 14"/>
          <p:cNvCxnSpPr/>
          <p:nvPr/>
        </p:nvCxnSpPr>
        <p:spPr>
          <a:xfrm>
            <a:off x="10571087" y="3280119"/>
            <a:ext cx="968079" cy="609743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/>
          <p:cNvSpPr txBox="1"/>
          <p:nvPr/>
        </p:nvSpPr>
        <p:spPr>
          <a:xfrm>
            <a:off x="9248880" y="3283528"/>
            <a:ext cx="64953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77" hangingPunct="0"/>
            <a:r>
              <a:rPr lang="ru-RU" sz="2400" kern="0" dirty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t>Нет</a:t>
            </a:r>
            <a:endParaRPr lang="en-US" sz="2400" kern="0" dirty="0">
              <a:solidFill>
                <a:srgbClr val="000000"/>
              </a:solidFill>
              <a:latin typeface="Calibri"/>
              <a:cs typeface="Calibri"/>
              <a:sym typeface="Calibri"/>
            </a:endParaRPr>
          </a:p>
        </p:txBody>
      </p:sp>
      <p:cxnSp>
        <p:nvCxnSpPr>
          <p:cNvPr id="17" name="Straight Arrow Connector 16"/>
          <p:cNvCxnSpPr/>
          <p:nvPr/>
        </p:nvCxnSpPr>
        <p:spPr>
          <a:xfrm flipH="1">
            <a:off x="9690777" y="3280119"/>
            <a:ext cx="880311" cy="609743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/>
        </p:nvSpPr>
        <p:spPr>
          <a:xfrm>
            <a:off x="9090420" y="3889862"/>
            <a:ext cx="174736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 hangingPunct="0"/>
            <a:r>
              <a:rPr lang="en-US" sz="3200" kern="0" dirty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t>0.</a:t>
            </a:r>
            <a:r>
              <a:rPr lang="ru-RU" sz="3200" kern="0" dirty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t>6</a:t>
            </a:r>
            <a:endParaRPr lang="en-US" sz="3200" kern="0" dirty="0">
              <a:solidFill>
                <a:srgbClr val="000000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11376027" y="3283528"/>
            <a:ext cx="53091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77" hangingPunct="0"/>
            <a:r>
              <a:rPr lang="ru-RU" sz="2400" kern="0" dirty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t>Да</a:t>
            </a:r>
            <a:endParaRPr lang="en-US" sz="2400" kern="0" dirty="0">
              <a:solidFill>
                <a:srgbClr val="000000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1213566" y="3913287"/>
            <a:ext cx="174736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 hangingPunct="0"/>
            <a:r>
              <a:rPr lang="ru-RU" sz="3200" kern="0" dirty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t>0.3</a:t>
            </a:r>
            <a:endParaRPr lang="en-US" sz="3200" kern="0" dirty="0">
              <a:solidFill>
                <a:srgbClr val="000000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4023201" y="1522109"/>
            <a:ext cx="2812417" cy="4275576"/>
          </a:xfrm>
          <a:prstGeom prst="rect">
            <a:avLst/>
          </a:prstGeom>
          <a:solidFill>
            <a:srgbClr val="8DFF43">
              <a:alpha val="29804"/>
            </a:srgbClr>
          </a:solidFill>
          <a:ln w="28575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7" hangingPunct="0"/>
            <a:endParaRPr lang="en-US" sz="3733" kern="0" dirty="0">
              <a:solidFill>
                <a:srgbClr val="000000"/>
              </a:solidFill>
              <a:latin typeface="Helvetica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28505133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2"/>
          </p:nvPr>
        </p:nvSpPr>
        <p:spPr>
          <a:xfrm>
            <a:off x="11820978" y="6487043"/>
            <a:ext cx="344002" cy="338554"/>
          </a:xfrm>
          <a:prstGeom prst="rect">
            <a:avLst/>
          </a:prstGeom>
          <a:ln w="12700">
            <a:miter lim="400000"/>
          </a:ln>
        </p:spPr>
        <p:txBody>
          <a:bodyPr wrap="none" lIns="45719" rIns="45719" anchor="ctr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600" kern="1200">
                <a:solidFill>
                  <a:srgbClr val="888888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 hangingPunct="0"/>
            <a:fld id="{86CB4B4D-7CA3-9044-876B-883B54F8677D}" type="slidenum">
              <a:rPr lang="en-RU" smtClean="0"/>
              <a:pPr defTabSz="914377" hangingPunct="0"/>
              <a:t>19</a:t>
            </a:fld>
            <a:endParaRPr lang="ru-RU" kern="0">
              <a:latin typeface="Calibri"/>
              <a:cs typeface="Calibri"/>
              <a:sym typeface="Calibri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/>
              <a:t>Решающие деревья: как приближают</a:t>
            </a:r>
            <a:endParaRPr lang="ru-RU" dirty="0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722012" y="1124745"/>
            <a:ext cx="11036008" cy="55830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7483567" y="2184427"/>
            <a:ext cx="2821606" cy="5027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77" hangingPunct="0"/>
            <a:r>
              <a:rPr lang="ru-RU" sz="2667" kern="0" dirty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t>Дерево глубины 2</a:t>
            </a:r>
            <a:endParaRPr lang="en-US" sz="2667" kern="0" dirty="0">
              <a:solidFill>
                <a:srgbClr val="000000"/>
              </a:solidFill>
              <a:latin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0280396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B9CF75C-C92F-BC48-B91D-4F3BD05F18D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E414080-7AFF-408C-4BAA-256F4F44A7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919252" y="8705816"/>
            <a:ext cx="300721" cy="338554"/>
          </a:xfrm>
          <a:prstGeom prst="rect">
            <a:avLst/>
          </a:prstGeom>
        </p:spPr>
        <p:txBody>
          <a:bodyPr/>
          <a:lstStyle/>
          <a:p>
            <a:pPr defTabSz="914377" hangingPunct="0"/>
            <a:fld id="{B3A57BD6-71FE-407A-A1B7-9E4112267E3D}" type="slidenum">
              <a:rPr lang="ru-RU" kern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pPr defTabSz="914377" hangingPunct="0"/>
              <a:t>2</a:t>
            </a:fld>
            <a:endParaRPr lang="ru-RU" kern="0">
              <a:solidFill>
                <a:srgbClr val="000000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462AC23-4E4B-0EA2-B946-78E470100E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30" y="2844534"/>
            <a:ext cx="10919596" cy="546229"/>
          </a:xfrm>
        </p:spPr>
        <p:txBody>
          <a:bodyPr>
            <a:normAutofit fontScale="90000"/>
          </a:bodyPr>
          <a:lstStyle/>
          <a:p>
            <a:pPr algn="ctr" defTabSz="914377" hangingPunct="0"/>
            <a:r>
              <a:rPr lang="ru-RU" sz="4000" b="1" kern="0" dirty="0">
                <a:solidFill>
                  <a:srgbClr val="000000"/>
                </a:solidFill>
                <a:latin typeface="Helvetica"/>
                <a:sym typeface="Calibri"/>
              </a:rPr>
              <a:t>Решающие деревья</a:t>
            </a:r>
          </a:p>
        </p:txBody>
      </p:sp>
    </p:spTree>
    <p:extLst>
      <p:ext uri="{BB962C8B-B14F-4D97-AF65-F5344CB8AC3E}">
        <p14:creationId xmlns:p14="http://schemas.microsoft.com/office/powerpoint/2010/main" val="227742472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2"/>
          </p:nvPr>
        </p:nvSpPr>
        <p:spPr>
          <a:xfrm>
            <a:off x="11820978" y="6487043"/>
            <a:ext cx="344002" cy="338554"/>
          </a:xfrm>
          <a:prstGeom prst="rect">
            <a:avLst/>
          </a:prstGeom>
          <a:ln w="12700">
            <a:miter lim="400000"/>
          </a:ln>
        </p:spPr>
        <p:txBody>
          <a:bodyPr wrap="none" lIns="45719" rIns="45719" anchor="ctr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600" kern="1200">
                <a:solidFill>
                  <a:srgbClr val="888888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 hangingPunct="0"/>
            <a:fld id="{86CB4B4D-7CA3-9044-876B-883B54F8677D}" type="slidenum">
              <a:rPr lang="en-RU" smtClean="0"/>
              <a:pPr defTabSz="914377" hangingPunct="0"/>
              <a:t>20</a:t>
            </a:fld>
            <a:endParaRPr lang="ru-RU" kern="0">
              <a:latin typeface="Calibri"/>
              <a:cs typeface="Calibri"/>
              <a:sym typeface="Calibri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/>
              <a:t>Решающие деревья: как приближают</a:t>
            </a:r>
            <a:endParaRPr lang="ru-RU" dirty="0"/>
          </a:p>
        </p:txBody>
      </p:sp>
      <p:pic>
        <p:nvPicPr>
          <p:cNvPr id="3686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623814" y="1151456"/>
            <a:ext cx="11039157" cy="57065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7694352" y="2232265"/>
            <a:ext cx="255871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77" hangingPunct="0"/>
            <a:r>
              <a:rPr lang="ru-RU" sz="2400" kern="0" dirty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t>Дерево глубины 5</a:t>
            </a:r>
            <a:endParaRPr lang="en-US" sz="2400" kern="0" dirty="0">
              <a:solidFill>
                <a:srgbClr val="000000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7694353" y="2842876"/>
            <a:ext cx="342112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77" hangingPunct="0"/>
            <a:r>
              <a:rPr lang="ru-RU" sz="2400" kern="0" dirty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t>Настраивается на шумы!</a:t>
            </a:r>
            <a:endParaRPr lang="en-US" sz="2400" kern="0" dirty="0">
              <a:solidFill>
                <a:srgbClr val="000000"/>
              </a:solidFill>
              <a:latin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06684119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2"/>
          </p:nvPr>
        </p:nvSpPr>
        <p:spPr>
          <a:xfrm>
            <a:off x="11820978" y="6487043"/>
            <a:ext cx="344002" cy="338554"/>
          </a:xfrm>
          <a:prstGeom prst="rect">
            <a:avLst/>
          </a:prstGeom>
          <a:ln w="12700">
            <a:miter lim="400000"/>
          </a:ln>
        </p:spPr>
        <p:txBody>
          <a:bodyPr wrap="none" lIns="45719" rIns="45719" anchor="ctr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600" kern="1200">
                <a:solidFill>
                  <a:srgbClr val="888888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 hangingPunct="0"/>
            <a:fld id="{86CB4B4D-7CA3-9044-876B-883B54F8677D}" type="slidenum">
              <a:rPr lang="en-RU" smtClean="0"/>
              <a:pPr defTabSz="914377" hangingPunct="0"/>
              <a:t>21</a:t>
            </a:fld>
            <a:endParaRPr lang="ru-RU" kern="0">
              <a:latin typeface="Calibri"/>
              <a:cs typeface="Calibri"/>
              <a:sym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/>
              <a:t>Решающие деревья</a:t>
            </a:r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534955" y="1302151"/>
            <a:ext cx="11064325" cy="54279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 hangingPunct="0"/>
            <a:r>
              <a:rPr lang="ru-RU" sz="2667" b="1" kern="0" dirty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t>Решающее дерево </a:t>
            </a:r>
            <a:r>
              <a:rPr lang="ru-RU" sz="2667" kern="0" dirty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t>— древовидная структура, в каждом узле которой находится некоторое условие, зависящее от значений признаков, а в каждом листе записан прогноз</a:t>
            </a:r>
          </a:p>
          <a:p>
            <a:pPr marL="380990" indent="-380990" defTabSz="914377" hangingPunct="0">
              <a:buFont typeface="Arial" charset="0"/>
              <a:buChar char="•"/>
            </a:pPr>
            <a:endParaRPr lang="ru-RU" sz="2667" kern="0" dirty="0">
              <a:solidFill>
                <a:srgbClr val="000000"/>
              </a:solidFill>
              <a:latin typeface="Calibri"/>
              <a:cs typeface="Calibri"/>
              <a:sym typeface="Calibri"/>
            </a:endParaRPr>
          </a:p>
          <a:p>
            <a:pPr defTabSz="914377" hangingPunct="0"/>
            <a:r>
              <a:rPr lang="ru-RU" sz="2667" b="1" kern="0" dirty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t>Плюсы:</a:t>
            </a:r>
          </a:p>
          <a:p>
            <a:pPr marL="380990" indent="-380990" defTabSz="914377" hangingPunct="0">
              <a:buFont typeface="Arial" charset="0"/>
              <a:buChar char="•"/>
            </a:pPr>
            <a:r>
              <a:rPr lang="ru-RU" sz="2667" kern="0" dirty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t>Могут восстанавливать сложные закономерности</a:t>
            </a:r>
          </a:p>
          <a:p>
            <a:pPr marL="380990" indent="-380990" defTabSz="914377" hangingPunct="0">
              <a:buFont typeface="Arial" charset="0"/>
              <a:buChar char="•"/>
            </a:pPr>
            <a:r>
              <a:rPr lang="ru-RU" sz="2667" kern="0" dirty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t>Показывают высокое качество на многих задачах анализа данных</a:t>
            </a:r>
          </a:p>
          <a:p>
            <a:pPr marL="380990" indent="-380990" defTabSz="914377" hangingPunct="0">
              <a:buFont typeface="Arial" charset="0"/>
              <a:buChar char="•"/>
            </a:pPr>
            <a:endParaRPr lang="ru-RU" sz="2667" kern="0" dirty="0">
              <a:solidFill>
                <a:srgbClr val="000000"/>
              </a:solidFill>
              <a:latin typeface="Calibri"/>
              <a:cs typeface="Calibri"/>
              <a:sym typeface="Calibri"/>
            </a:endParaRPr>
          </a:p>
          <a:p>
            <a:pPr defTabSz="914377" hangingPunct="0"/>
            <a:r>
              <a:rPr lang="ru-RU" sz="2667" b="1" kern="0" dirty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t>Минусы:</a:t>
            </a:r>
          </a:p>
          <a:p>
            <a:pPr marL="380990" indent="-380990" defTabSz="914377" hangingPunct="0">
              <a:buFont typeface="Arial" charset="0"/>
              <a:buChar char="•"/>
            </a:pPr>
            <a:r>
              <a:rPr lang="ru-RU" sz="2667" kern="0" dirty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t>Сложный процесс обучения</a:t>
            </a:r>
          </a:p>
          <a:p>
            <a:pPr marL="380990" indent="-380990" defTabSz="914377" hangingPunct="0">
              <a:buFont typeface="Arial" charset="0"/>
              <a:buChar char="•"/>
            </a:pPr>
            <a:r>
              <a:rPr lang="ru-RU" sz="2667" kern="0" dirty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t>Обучение на больших выборках может занимать много времени</a:t>
            </a:r>
          </a:p>
          <a:p>
            <a:pPr marL="380990" indent="-380990" defTabSz="914377" hangingPunct="0">
              <a:buFont typeface="Arial" charset="0"/>
              <a:buChar char="•"/>
            </a:pPr>
            <a:r>
              <a:rPr lang="ru-RU" sz="2667" kern="0" dirty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t>Могут слишком сильно подгоняться под обучающую выборку</a:t>
            </a:r>
          </a:p>
          <a:p>
            <a:pPr marL="380990" indent="-380990" defTabSz="914377" hangingPunct="0">
              <a:buFont typeface="Arial" charset="0"/>
              <a:buChar char="•"/>
            </a:pPr>
            <a:endParaRPr lang="en-US" sz="2667" kern="0" dirty="0">
              <a:solidFill>
                <a:srgbClr val="000000"/>
              </a:solidFill>
              <a:latin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55592362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>
            <a:extLst>
              <a:ext uri="{FF2B5EF4-FFF2-40B4-BE49-F238E27FC236}">
                <a16:creationId xmlns:a16="http://schemas.microsoft.com/office/drawing/2014/main" id="{349488AF-2D81-7A49-886B-27048D6A9B8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ru-RU" dirty="0" err="1"/>
              <a:t>Random</a:t>
            </a:r>
            <a:r>
              <a:rPr lang="ru-RU" dirty="0"/>
              <a:t> </a:t>
            </a:r>
            <a:r>
              <a:rPr lang="ru-RU" dirty="0" err="1"/>
              <a:t>Forest</a:t>
            </a:r>
            <a:r>
              <a:rPr lang="ru-RU" dirty="0"/>
              <a:t>: строим деревья параллельно, на случайных </a:t>
            </a:r>
            <a:r>
              <a:rPr lang="ru-RU" dirty="0" err="1"/>
              <a:t>подвыборках</a:t>
            </a:r>
            <a:r>
              <a:rPr lang="ru-RU" dirty="0"/>
              <a:t>.</a:t>
            </a:r>
          </a:p>
          <a:p>
            <a:r>
              <a:rPr lang="ru-RU" dirty="0" err="1"/>
              <a:t>Gradient</a:t>
            </a:r>
            <a:r>
              <a:rPr lang="ru-RU" dirty="0"/>
              <a:t> </a:t>
            </a:r>
            <a:r>
              <a:rPr lang="ru-RU" dirty="0" err="1"/>
              <a:t>Boosting</a:t>
            </a:r>
            <a:r>
              <a:rPr lang="ru-RU" dirty="0"/>
              <a:t>: строим деревья последовательно, каждое исправляет ошибки предыдущих.</a:t>
            </a:r>
          </a:p>
          <a:p>
            <a:endParaRPr lang="ru-RU" dirty="0"/>
          </a:p>
          <a:p>
            <a:r>
              <a:rPr lang="ru-RU" dirty="0"/>
              <a:t>Алгоритм:</a:t>
            </a:r>
          </a:p>
          <a:p>
            <a:r>
              <a:rPr lang="ru-RU" dirty="0"/>
              <a:t>Строим первое дерево → получаем прогноз</a:t>
            </a:r>
          </a:p>
          <a:p>
            <a:r>
              <a:rPr lang="ru-RU" dirty="0"/>
              <a:t>Вычисляем ошибки </a:t>
            </a:r>
          </a:p>
          <a:p>
            <a:r>
              <a:rPr lang="ru-RU" dirty="0"/>
              <a:t>Обучаем второе дерево на этих остатках</a:t>
            </a:r>
          </a:p>
          <a:p>
            <a:endParaRPr lang="ru-RU" dirty="0"/>
          </a:p>
          <a:p>
            <a:endParaRPr lang="ru-RU" dirty="0"/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92E50139-33E0-60FB-82A7-ED278D475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6519" y="228334"/>
            <a:ext cx="11686307" cy="546229"/>
          </a:xfrm>
        </p:spPr>
        <p:txBody>
          <a:bodyPr>
            <a:normAutofit fontScale="90000"/>
          </a:bodyPr>
          <a:lstStyle/>
          <a:p>
            <a:r>
              <a:rPr lang="ru-RU" dirty="0"/>
              <a:t>Градиентный </a:t>
            </a:r>
            <a:r>
              <a:rPr lang="ru-RU" dirty="0" err="1"/>
              <a:t>бустинг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1749224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Градиентный бустинг: строим следующее дерево на остатки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9403" y="1096632"/>
            <a:ext cx="5095100" cy="2688299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70580" y="1166847"/>
            <a:ext cx="5184576" cy="268563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71102" y="3956752"/>
            <a:ext cx="5232877" cy="2567072"/>
          </a:xfrm>
          <a:prstGeom prst="rect">
            <a:avLst/>
          </a:prstGeom>
        </p:spPr>
      </p:pic>
      <p:sp>
        <p:nvSpPr>
          <p:cNvPr id="8" name="Oval 7"/>
          <p:cNvSpPr/>
          <p:nvPr/>
        </p:nvSpPr>
        <p:spPr>
          <a:xfrm>
            <a:off x="4994548" y="1569227"/>
            <a:ext cx="864096" cy="864096"/>
          </a:xfrm>
          <a:prstGeom prst="ellipse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7" hangingPunct="0"/>
            <a:endParaRPr lang="en-US" sz="1733" kern="0">
              <a:solidFill>
                <a:srgbClr val="000000"/>
              </a:solidFill>
              <a:latin typeface="Helvetica"/>
              <a:sym typeface="Calibri"/>
            </a:endParaRPr>
          </a:p>
        </p:txBody>
      </p:sp>
      <p:sp>
        <p:nvSpPr>
          <p:cNvPr id="9" name="Oval 8"/>
          <p:cNvSpPr/>
          <p:nvPr/>
        </p:nvSpPr>
        <p:spPr>
          <a:xfrm>
            <a:off x="4950407" y="4348239"/>
            <a:ext cx="864096" cy="864096"/>
          </a:xfrm>
          <a:prstGeom prst="ellipse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7" hangingPunct="0"/>
            <a:endParaRPr lang="en-US" sz="1733" kern="0">
              <a:solidFill>
                <a:srgbClr val="000000"/>
              </a:solidFill>
              <a:latin typeface="Helvetica"/>
              <a:sym typeface="Calibri"/>
            </a:endParaRPr>
          </a:p>
        </p:txBody>
      </p:sp>
      <p:sp>
        <p:nvSpPr>
          <p:cNvPr id="10" name="Down Arrow 9"/>
          <p:cNvSpPr/>
          <p:nvPr/>
        </p:nvSpPr>
        <p:spPr>
          <a:xfrm>
            <a:off x="675261" y="3307341"/>
            <a:ext cx="528355" cy="757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 hangingPunct="0"/>
            <a:endParaRPr lang="en-US" sz="1733" kern="0">
              <a:solidFill>
                <a:srgbClr val="FFFFFF"/>
              </a:solidFill>
              <a:latin typeface="Helvetica"/>
              <a:sym typeface="Calibri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458422" y="3359473"/>
            <a:ext cx="338586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77" hangingPunct="0"/>
            <a:r>
              <a:rPr lang="ru-RU" sz="3200" kern="0" dirty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t>остаток (разность)</a:t>
            </a:r>
            <a:endParaRPr lang="en-US" sz="3200" kern="0" dirty="0">
              <a:solidFill>
                <a:srgbClr val="000000"/>
              </a:solidFill>
              <a:latin typeface="Calibri"/>
              <a:cs typeface="Calibri"/>
              <a:sym typeface="Calibri"/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042091" y="3976952"/>
            <a:ext cx="5355167" cy="2582739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B0A2F1BE-F039-154F-9C1D-39FE43A07889}"/>
              </a:ext>
            </a:extLst>
          </p:cNvPr>
          <p:cNvSpPr/>
          <p:nvPr/>
        </p:nvSpPr>
        <p:spPr>
          <a:xfrm>
            <a:off x="6170581" y="1238066"/>
            <a:ext cx="5620841" cy="251428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 hangingPunct="0"/>
            <a:endParaRPr lang="ru-RU" sz="1733" kern="0">
              <a:solidFill>
                <a:srgbClr val="FFFFFF"/>
              </a:solidFill>
              <a:latin typeface="Helvetica"/>
              <a:sym typeface="Calibri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6974724" y="3349234"/>
            <a:ext cx="391485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77" hangingPunct="0"/>
            <a:r>
              <a:rPr lang="ru-RU" sz="3200" kern="0" dirty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t>сумма двух деревьев</a:t>
            </a:r>
            <a:endParaRPr lang="en-US" sz="3200" kern="0" dirty="0">
              <a:solidFill>
                <a:srgbClr val="000000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435453" y="6139517"/>
            <a:ext cx="2127505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77" hangingPunct="0"/>
            <a:r>
              <a:rPr lang="ru-RU" sz="3200" kern="0" dirty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t>добавляем</a:t>
            </a:r>
            <a:endParaRPr lang="en-US" sz="3200" kern="0" dirty="0">
              <a:solidFill>
                <a:srgbClr val="000000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12" name="Down Arrow 11"/>
          <p:cNvSpPr/>
          <p:nvPr/>
        </p:nvSpPr>
        <p:spPr>
          <a:xfrm rot="16200000">
            <a:off x="6867444" y="6052470"/>
            <a:ext cx="528355" cy="757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 hangingPunct="0"/>
            <a:endParaRPr lang="en-US" sz="1733" kern="0">
              <a:solidFill>
                <a:srgbClr val="FFFFFF"/>
              </a:solidFill>
              <a:latin typeface="Helvetica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92591770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>
            <a:extLst>
              <a:ext uri="{FF2B5EF4-FFF2-40B4-BE49-F238E27FC236}">
                <a16:creationId xmlns:a16="http://schemas.microsoft.com/office/drawing/2014/main" id="{4BB26CC3-1219-C416-85FA-66B5ACD9E25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ru-RU" dirty="0" err="1"/>
              <a:t>XGBoost</a:t>
            </a:r>
            <a:r>
              <a:rPr lang="ru-RU" dirty="0"/>
              <a:t> — самый популярный (скорость и регуляризация)</a:t>
            </a:r>
          </a:p>
          <a:p>
            <a:r>
              <a:rPr lang="ru-RU" dirty="0" err="1"/>
              <a:t>LightGBM</a:t>
            </a:r>
            <a:r>
              <a:rPr lang="ru-RU" dirty="0"/>
              <a:t> — быстрая реализация от Microsoft</a:t>
            </a:r>
          </a:p>
          <a:p>
            <a:r>
              <a:rPr lang="ru-RU" dirty="0" err="1"/>
              <a:t>CatBoost</a:t>
            </a:r>
            <a:r>
              <a:rPr lang="ru-RU" dirty="0"/>
              <a:t> — оптимизирован для категориальных признаков</a:t>
            </a:r>
          </a:p>
          <a:p>
            <a:endParaRPr lang="ru-RU" dirty="0"/>
          </a:p>
          <a:p>
            <a:pPr marL="0" indent="0">
              <a:buNone/>
            </a:pPr>
            <a:r>
              <a:rPr lang="ru-RU" dirty="0"/>
              <a:t>Почему </a:t>
            </a:r>
            <a:r>
              <a:rPr lang="ru-RU" dirty="0" err="1"/>
              <a:t>бустинг</a:t>
            </a:r>
            <a:r>
              <a:rPr lang="ru-RU" dirty="0"/>
              <a:t> до сих пор популярен, несмотря на нейросети?</a:t>
            </a:r>
          </a:p>
          <a:p>
            <a:endParaRPr lang="ru-RU" dirty="0"/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5D48EC3C-D0AE-BB41-12DA-AB9B376909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0729" y="228334"/>
            <a:ext cx="11572097" cy="546229"/>
          </a:xfrm>
        </p:spPr>
        <p:txBody>
          <a:bodyPr/>
          <a:lstStyle/>
          <a:p>
            <a:r>
              <a:rPr lang="ru-RU" dirty="0"/>
              <a:t>Современные реализации</a:t>
            </a:r>
          </a:p>
        </p:txBody>
      </p:sp>
    </p:spTree>
    <p:extLst>
      <p:ext uri="{BB962C8B-B14F-4D97-AF65-F5344CB8AC3E}">
        <p14:creationId xmlns:p14="http://schemas.microsoft.com/office/powerpoint/2010/main" val="327409983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>
            <a:extLst>
              <a:ext uri="{FF2B5EF4-FFF2-40B4-BE49-F238E27FC236}">
                <a16:creationId xmlns:a16="http://schemas.microsoft.com/office/drawing/2014/main" id="{0382E32A-E570-36C1-018D-BB26BC8794C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ru-RU" dirty="0"/>
              <a:t>Даже лучшая модель ошибается из-за случайностей в данных.</a:t>
            </a:r>
            <a:endParaRPr lang="en-US" dirty="0"/>
          </a:p>
          <a:p>
            <a:r>
              <a:rPr lang="ru-RU" dirty="0"/>
              <a:t>Если объединить несколько независимых моделей, ошибки усредняются.</a:t>
            </a:r>
            <a:endParaRPr lang="en-US" dirty="0"/>
          </a:p>
          <a:p>
            <a:r>
              <a:rPr lang="ru-RU" dirty="0"/>
              <a:t>Принцип "мудрости толпы": совокупное мнение часто точнее, чем отдельное.</a:t>
            </a:r>
            <a:endParaRPr lang="en-US" dirty="0"/>
          </a:p>
          <a:p>
            <a:r>
              <a:rPr lang="ru-RU" dirty="0"/>
              <a:t>В </a:t>
            </a:r>
            <a:r>
              <a:rPr lang="ru-RU" dirty="0" err="1"/>
              <a:t>бэггинге</a:t>
            </a:r>
            <a:r>
              <a:rPr lang="ru-RU" dirty="0"/>
              <a:t> модели учатся независимо и потом усредняются.</a:t>
            </a:r>
            <a:endParaRPr lang="en-US" dirty="0"/>
          </a:p>
          <a:p>
            <a:r>
              <a:rPr lang="ru-RU" dirty="0"/>
              <a:t>В </a:t>
            </a:r>
            <a:r>
              <a:rPr lang="ru-RU" dirty="0" err="1"/>
              <a:t>бустинге</a:t>
            </a:r>
            <a:r>
              <a:rPr lang="ru-RU" dirty="0"/>
              <a:t> — модели строятся одна за другой, каждая исправляет ошибки предыдущих.</a:t>
            </a:r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677A23E0-E703-1EDB-E846-2DB56D7D0E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6519" y="228334"/>
            <a:ext cx="11686307" cy="546229"/>
          </a:xfrm>
        </p:spPr>
        <p:txBody>
          <a:bodyPr/>
          <a:lstStyle/>
          <a:p>
            <a:r>
              <a:rPr lang="ru-RU" dirty="0"/>
              <a:t>Ансамбли моделей</a:t>
            </a:r>
          </a:p>
        </p:txBody>
      </p:sp>
    </p:spTree>
    <p:extLst>
      <p:ext uri="{BB962C8B-B14F-4D97-AF65-F5344CB8AC3E}">
        <p14:creationId xmlns:p14="http://schemas.microsoft.com/office/powerpoint/2010/main" val="136380852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>
            <a:extLst>
              <a:ext uri="{FF2B5EF4-FFF2-40B4-BE49-F238E27FC236}">
                <a16:creationId xmlns:a16="http://schemas.microsoft.com/office/drawing/2014/main" id="{7C736823-3F05-2969-933C-00B5FD4F4EB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ru-RU" dirty="0"/>
              <a:t>Несколько раз выбираем </a:t>
            </a:r>
            <a:r>
              <a:rPr lang="ru-RU" dirty="0" err="1"/>
              <a:t>подвыборку</a:t>
            </a:r>
            <a:r>
              <a:rPr lang="ru-RU" dirty="0"/>
              <a:t> из обучающей выборки (с возвращением).</a:t>
            </a:r>
          </a:p>
          <a:p>
            <a:r>
              <a:rPr lang="ru-RU" dirty="0"/>
              <a:t>Обучаем на каждой </a:t>
            </a:r>
            <a:r>
              <a:rPr lang="ru-RU" dirty="0" err="1"/>
              <a:t>подвыборке</a:t>
            </a:r>
            <a:r>
              <a:rPr lang="ru-RU" dirty="0"/>
              <a:t> отдельное дерево.</a:t>
            </a:r>
          </a:p>
          <a:p>
            <a:r>
              <a:rPr lang="ru-RU" dirty="0"/>
              <a:t>Усредняем (для регрессии) или голосуем (для классификации).</a:t>
            </a:r>
            <a:endParaRPr lang="en-US" dirty="0"/>
          </a:p>
          <a:p>
            <a:endParaRPr lang="en-US" dirty="0"/>
          </a:p>
          <a:p>
            <a:r>
              <a:rPr lang="ru-RU" dirty="0"/>
              <a:t>В какой метод </a:t>
            </a:r>
            <a:r>
              <a:rPr lang="ru-RU" dirty="0" err="1"/>
              <a:t>бэггинг</a:t>
            </a:r>
            <a:r>
              <a:rPr lang="ru-RU" dirty="0"/>
              <a:t> зашит по определению?</a:t>
            </a:r>
          </a:p>
          <a:p>
            <a:endParaRPr lang="ru-RU" dirty="0"/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D93BAFD7-B349-1432-C1EF-5B271F01CF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6519" y="228334"/>
            <a:ext cx="11686307" cy="546229"/>
          </a:xfrm>
        </p:spPr>
        <p:txBody>
          <a:bodyPr/>
          <a:lstStyle/>
          <a:p>
            <a:r>
              <a:rPr lang="ru-RU" dirty="0" err="1"/>
              <a:t>Бэггинг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7839928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>
            <a:extLst>
              <a:ext uri="{FF2B5EF4-FFF2-40B4-BE49-F238E27FC236}">
                <a16:creationId xmlns:a16="http://schemas.microsoft.com/office/drawing/2014/main" id="{58DAB521-646D-99A9-507B-B4270D295E8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ru-RU" dirty="0"/>
              <a:t>Если все модели одинаковые – не будет эффекта “усреднения”.</a:t>
            </a:r>
          </a:p>
          <a:p>
            <a:r>
              <a:rPr lang="ru-RU" dirty="0"/>
              <a:t>Если данных мало – каждая модель просто копирует шум.</a:t>
            </a:r>
          </a:p>
          <a:p>
            <a:r>
              <a:rPr lang="ru-RU" dirty="0"/>
              <a:t>Если модель и так линейная и устойчивая (например, линейная регрессия), </a:t>
            </a:r>
            <a:r>
              <a:rPr lang="ru-RU" dirty="0" err="1"/>
              <a:t>бэггинг</a:t>
            </a:r>
            <a:r>
              <a:rPr lang="ru-RU" dirty="0"/>
              <a:t> не улучшает результат.</a:t>
            </a:r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2FC4375B-444F-865C-5CE8-151079880B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6519" y="228334"/>
            <a:ext cx="11686307" cy="546229"/>
          </a:xfrm>
        </p:spPr>
        <p:txBody>
          <a:bodyPr/>
          <a:lstStyle/>
          <a:p>
            <a:r>
              <a:rPr lang="ru-RU" dirty="0"/>
              <a:t>Когда ансамбли не помогают</a:t>
            </a:r>
          </a:p>
        </p:txBody>
      </p:sp>
    </p:spTree>
    <p:extLst>
      <p:ext uri="{BB962C8B-B14F-4D97-AF65-F5344CB8AC3E}">
        <p14:creationId xmlns:p14="http://schemas.microsoft.com/office/powerpoint/2010/main" val="280463820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>
            <a:extLst>
              <a:ext uri="{FF2B5EF4-FFF2-40B4-BE49-F238E27FC236}">
                <a16:creationId xmlns:a16="http://schemas.microsoft.com/office/drawing/2014/main" id="{3AF7DEBE-95EC-A816-A15A-7777127756E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ru-RU" dirty="0"/>
              <a:t>В </a:t>
            </a:r>
            <a:r>
              <a:rPr lang="ru-RU" dirty="0" err="1"/>
              <a:t>бэггинге</a:t>
            </a:r>
            <a:r>
              <a:rPr lang="ru-RU" dirty="0"/>
              <a:t> и </a:t>
            </a:r>
            <a:r>
              <a:rPr lang="ru-RU" dirty="0" err="1"/>
              <a:t>бустинге</a:t>
            </a:r>
            <a:r>
              <a:rPr lang="ru-RU" dirty="0"/>
              <a:t> все модели одного типа (например, деревья).</a:t>
            </a:r>
          </a:p>
          <a:p>
            <a:r>
              <a:rPr lang="ru-RU" dirty="0"/>
              <a:t>В </a:t>
            </a:r>
            <a:r>
              <a:rPr lang="ru-RU" dirty="0" err="1"/>
              <a:t>стекинге</a:t>
            </a:r>
            <a:r>
              <a:rPr lang="ru-RU" dirty="0"/>
              <a:t> — разные модели, и их прогнозы комбинируются другой моделью (“метамоделью”).</a:t>
            </a:r>
          </a:p>
          <a:p>
            <a:r>
              <a:rPr lang="ru-RU" dirty="0"/>
              <a:t>Алгоритм:</a:t>
            </a:r>
          </a:p>
          <a:p>
            <a:pPr lvl="1"/>
            <a:r>
              <a:rPr lang="ru-RU" dirty="0"/>
              <a:t>Делим данные на </a:t>
            </a:r>
            <a:r>
              <a:rPr lang="ru-RU" dirty="0" err="1"/>
              <a:t>train</a:t>
            </a:r>
            <a:r>
              <a:rPr lang="ru-RU" dirty="0"/>
              <a:t> и </a:t>
            </a:r>
            <a:r>
              <a:rPr lang="ru-RU" dirty="0" err="1"/>
              <a:t>validation</a:t>
            </a:r>
            <a:r>
              <a:rPr lang="ru-RU" dirty="0"/>
              <a:t>. </a:t>
            </a:r>
          </a:p>
          <a:p>
            <a:pPr lvl="1"/>
            <a:r>
              <a:rPr lang="ru-RU" dirty="0"/>
              <a:t>Обучаем несколько базовых моделей на </a:t>
            </a:r>
            <a:r>
              <a:rPr lang="ru-RU" dirty="0" err="1"/>
              <a:t>train</a:t>
            </a:r>
            <a:r>
              <a:rPr lang="ru-RU" dirty="0"/>
              <a:t>, получаем их прогнозы на </a:t>
            </a:r>
            <a:r>
              <a:rPr lang="ru-RU" dirty="0" err="1"/>
              <a:t>validation</a:t>
            </a:r>
            <a:r>
              <a:rPr lang="ru-RU" dirty="0"/>
              <a:t>.</a:t>
            </a:r>
          </a:p>
          <a:p>
            <a:pPr lvl="1"/>
            <a:r>
              <a:rPr lang="ru-RU" dirty="0"/>
              <a:t>Эти прогнозы становятся новыми признаками.</a:t>
            </a:r>
          </a:p>
          <a:p>
            <a:pPr lvl="1"/>
            <a:r>
              <a:rPr lang="ru-RU" dirty="0"/>
              <a:t>Обучаем метамодель на этих признаках.</a:t>
            </a:r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A6328972-9764-4865-3717-53DF7652E7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6519" y="228334"/>
            <a:ext cx="11686307" cy="546229"/>
          </a:xfrm>
        </p:spPr>
        <p:txBody>
          <a:bodyPr/>
          <a:lstStyle/>
          <a:p>
            <a:r>
              <a:rPr lang="ru-RU" dirty="0" err="1"/>
              <a:t>Стекинг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4947037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2"/>
          </p:nvPr>
        </p:nvSpPr>
        <p:spPr>
          <a:xfrm>
            <a:off x="11820978" y="6487043"/>
            <a:ext cx="344002" cy="338554"/>
          </a:xfrm>
          <a:prstGeom prst="rect">
            <a:avLst/>
          </a:prstGeom>
          <a:ln w="12700">
            <a:miter lim="400000"/>
          </a:ln>
        </p:spPr>
        <p:txBody>
          <a:bodyPr wrap="none" lIns="45719" rIns="45719" anchor="ctr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600" kern="1200">
                <a:solidFill>
                  <a:srgbClr val="888888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 hangingPunct="0"/>
            <a:fld id="{86CB4B4D-7CA3-9044-876B-883B54F8677D}" type="slidenum">
              <a:rPr lang="en-RU" smtClean="0"/>
              <a:pPr defTabSz="914377" hangingPunct="0"/>
              <a:t>3</a:t>
            </a:fld>
            <a:endParaRPr lang="ru-RU" kern="0" dirty="0">
              <a:latin typeface="Calibri"/>
              <a:cs typeface="Calibri"/>
              <a:sym typeface="Calibri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/>
              <a:t>Решающее дерево</a:t>
            </a:r>
            <a:endParaRPr lang="en-US" dirty="0"/>
          </a:p>
        </p:txBody>
      </p:sp>
      <p:pic>
        <p:nvPicPr>
          <p:cNvPr id="33794" name="Picture 2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590337" y="1454585"/>
            <a:ext cx="9155635" cy="48616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73842917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5" name="Picture 1" descr="/Users/zian/Library/Group Containers/UBF8T346G9.Office/msoclip1/01/FF9BAD90-7A8E-6240-9C40-855FB54F971B.png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981325" y="1320800"/>
            <a:ext cx="6197600" cy="5156200"/>
          </a:xfrm>
        </p:spPr>
      </p:pic>
      <p:sp>
        <p:nvSpPr>
          <p:cNvPr id="3" name="Slide Number Placeholder 2"/>
          <p:cNvSpPr>
            <a:spLocks noGrp="1"/>
          </p:cNvSpPr>
          <p:nvPr>
            <p:ph type="sldNum" sz="quarter" idx="2"/>
          </p:nvPr>
        </p:nvSpPr>
        <p:spPr>
          <a:xfrm>
            <a:off x="11820978" y="6487043"/>
            <a:ext cx="344002" cy="338554"/>
          </a:xfrm>
          <a:prstGeom prst="rect">
            <a:avLst/>
          </a:prstGeom>
          <a:ln w="12700">
            <a:miter lim="400000"/>
          </a:ln>
        </p:spPr>
        <p:txBody>
          <a:bodyPr wrap="none" lIns="45719" rIns="45719" anchor="ctr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600" kern="1200">
                <a:solidFill>
                  <a:srgbClr val="888888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 hangingPunct="0"/>
            <a:fld id="{86CB4B4D-7CA3-9044-876B-883B54F8677D}" type="slidenum">
              <a:rPr lang="en-RU" smtClean="0"/>
              <a:pPr defTabSz="914377" hangingPunct="0"/>
              <a:t>4</a:t>
            </a:fld>
            <a:endParaRPr lang="ru-RU" kern="0">
              <a:latin typeface="Calibri"/>
              <a:cs typeface="Calibri"/>
              <a:sym typeface="Calibri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/>
              <a:t>Рассмотрим задачу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974097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01" name="Picture 1" descr="/Users/zian/Library/Group Containers/UBF8T346G9.Office/msoclip1/01/A6855D24-4F07-964D-A663-BCD780EECAA1.png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981325" y="1320800"/>
            <a:ext cx="6197600" cy="5156200"/>
          </a:xfrm>
        </p:spPr>
      </p:pic>
      <p:sp>
        <p:nvSpPr>
          <p:cNvPr id="3" name="Slide Number Placeholder 2"/>
          <p:cNvSpPr>
            <a:spLocks noGrp="1"/>
          </p:cNvSpPr>
          <p:nvPr>
            <p:ph type="sldNum" sz="quarter" idx="2"/>
          </p:nvPr>
        </p:nvSpPr>
        <p:spPr>
          <a:xfrm>
            <a:off x="11820978" y="6487043"/>
            <a:ext cx="344002" cy="338554"/>
          </a:xfrm>
          <a:prstGeom prst="rect">
            <a:avLst/>
          </a:prstGeom>
          <a:ln w="12700">
            <a:miter lim="400000"/>
          </a:ln>
        </p:spPr>
        <p:txBody>
          <a:bodyPr wrap="none" lIns="45719" rIns="45719" anchor="ctr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600" kern="1200">
                <a:solidFill>
                  <a:srgbClr val="888888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 hangingPunct="0"/>
            <a:fld id="{86CB4B4D-7CA3-9044-876B-883B54F8677D}" type="slidenum">
              <a:rPr lang="en-RU" smtClean="0"/>
              <a:pPr defTabSz="914377" hangingPunct="0"/>
              <a:t>5</a:t>
            </a:fld>
            <a:endParaRPr lang="ru-RU" kern="0">
              <a:latin typeface="Calibri"/>
              <a:cs typeface="Calibri"/>
              <a:sym typeface="Calibri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/>
              <a:t>Может линейной моделью решить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467234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2226" name="Picture 2" descr="/Users/zian/Library/Group Containers/UBF8T346G9.Office/msoclip1/01/7671E4AC-15A3-5A4E-B1AD-A42E3EA9B903.png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3002945" y="1187451"/>
            <a:ext cx="6154360" cy="5422900"/>
          </a:xfrm>
        </p:spPr>
      </p:pic>
      <p:sp>
        <p:nvSpPr>
          <p:cNvPr id="3" name="Slide Number Placeholder 2"/>
          <p:cNvSpPr>
            <a:spLocks noGrp="1"/>
          </p:cNvSpPr>
          <p:nvPr>
            <p:ph type="sldNum" sz="quarter" idx="2"/>
          </p:nvPr>
        </p:nvSpPr>
        <p:spPr>
          <a:xfrm>
            <a:off x="11820978" y="6487043"/>
            <a:ext cx="344002" cy="338554"/>
          </a:xfrm>
          <a:prstGeom prst="rect">
            <a:avLst/>
          </a:prstGeom>
          <a:ln w="12700">
            <a:miter lim="400000"/>
          </a:ln>
        </p:spPr>
        <p:txBody>
          <a:bodyPr wrap="none" lIns="45719" rIns="45719" anchor="ctr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600" kern="1200">
                <a:solidFill>
                  <a:srgbClr val="888888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 hangingPunct="0"/>
            <a:fld id="{86CB4B4D-7CA3-9044-876B-883B54F8677D}" type="slidenum">
              <a:rPr lang="en-RU" smtClean="0"/>
              <a:pPr defTabSz="914377" hangingPunct="0"/>
              <a:t>6</a:t>
            </a:fld>
            <a:endParaRPr lang="ru-RU" kern="0">
              <a:latin typeface="Calibri"/>
              <a:cs typeface="Calibri"/>
              <a:sym typeface="Calibri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/>
              <a:t>Но ведь можно так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0728" y="2852461"/>
            <a:ext cx="2671529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 hangingPunct="0"/>
            <a:r>
              <a:rPr lang="ru-RU" sz="3200" kern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t>И как искать уравнение такой кривой?</a:t>
            </a:r>
            <a:endParaRPr lang="en-US" sz="3200" kern="0" dirty="0">
              <a:solidFill>
                <a:srgbClr val="000000"/>
              </a:solidFill>
              <a:latin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11116966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ru-RU" dirty="0"/>
              <a:t>Ветвление: «правда ли, что признак </a:t>
            </a:r>
            <a:r>
              <a:rPr lang="en-US" dirty="0"/>
              <a:t>&gt; </a:t>
            </a:r>
            <a:r>
              <a:rPr lang="ru-RU" dirty="0"/>
              <a:t>порога»?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11889400" y="6449335"/>
            <a:ext cx="300721" cy="338554"/>
          </a:xfrm>
          <a:prstGeom prst="rect">
            <a:avLst/>
          </a:prstGeom>
        </p:spPr>
        <p:txBody>
          <a:bodyPr/>
          <a:lstStyle/>
          <a:p>
            <a:pPr defTabSz="914377" hangingPunct="0"/>
            <a:fld id="{7DB1B327-4D8B-4363-B1F2-9ED0E4F4AAE4}" type="slidenum">
              <a:rPr lang="ru-RU" kern="0">
                <a:latin typeface="Calibri"/>
                <a:cs typeface="Calibri"/>
                <a:sym typeface="Calibri"/>
              </a:rPr>
              <a:pPr defTabSz="914377" hangingPunct="0"/>
              <a:t>7</a:t>
            </a:fld>
            <a:endParaRPr lang="ru-RU" kern="0">
              <a:latin typeface="Calibri"/>
              <a:cs typeface="Calibri"/>
              <a:sym typeface="Calibri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Будем строить решающее дерево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4059677" y="2272500"/>
            <a:ext cx="4020767" cy="1322961"/>
          </a:xfrm>
          <a:prstGeom prst="rect">
            <a:avLst/>
          </a:prstGeom>
          <a:ln w="28575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7" hangingPunct="0"/>
            <a:r>
              <a:rPr lang="ru-RU" sz="3200" kern="0" dirty="0">
                <a:solidFill>
                  <a:srgbClr val="000000"/>
                </a:solidFill>
                <a:latin typeface="Helvetica"/>
                <a:sym typeface="Calibri"/>
              </a:rPr>
              <a:t>признак </a:t>
            </a:r>
            <a:r>
              <a:rPr lang="en-US" sz="3200" kern="0" dirty="0">
                <a:solidFill>
                  <a:srgbClr val="000000"/>
                </a:solidFill>
                <a:latin typeface="Helvetica"/>
                <a:sym typeface="Calibri"/>
              </a:rPr>
              <a:t>&gt; </a:t>
            </a:r>
            <a:r>
              <a:rPr lang="ru-RU" sz="3200" kern="0" dirty="0">
                <a:solidFill>
                  <a:srgbClr val="000000"/>
                </a:solidFill>
                <a:latin typeface="Helvetica"/>
                <a:sym typeface="Calibri"/>
              </a:rPr>
              <a:t>порога?</a:t>
            </a:r>
            <a:endParaRPr lang="en-US" sz="3200" kern="0" dirty="0">
              <a:solidFill>
                <a:srgbClr val="000000"/>
              </a:solidFill>
              <a:latin typeface="Helvetica"/>
              <a:sym typeface="Calibri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2445687" y="5000567"/>
            <a:ext cx="1585088" cy="683099"/>
          </a:xfrm>
          <a:prstGeom prst="rect">
            <a:avLst/>
          </a:prstGeom>
          <a:ln w="28575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7" hangingPunct="0"/>
            <a:endParaRPr lang="en-US" sz="3733" kern="0" dirty="0">
              <a:solidFill>
                <a:srgbClr val="000000"/>
              </a:solidFill>
              <a:latin typeface="Helvetica"/>
              <a:sym typeface="Calibri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8080444" y="5000567"/>
            <a:ext cx="1585088" cy="683099"/>
          </a:xfrm>
          <a:prstGeom prst="rect">
            <a:avLst/>
          </a:prstGeom>
          <a:ln w="28575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7" hangingPunct="0"/>
            <a:endParaRPr lang="en-US" sz="3733" kern="0" dirty="0">
              <a:solidFill>
                <a:srgbClr val="000000"/>
              </a:solidFill>
              <a:latin typeface="Helvetica"/>
              <a:sym typeface="Calibri"/>
            </a:endParaRPr>
          </a:p>
        </p:txBody>
      </p:sp>
      <p:cxnSp>
        <p:nvCxnSpPr>
          <p:cNvPr id="9" name="Straight Arrow Connector 8"/>
          <p:cNvCxnSpPr>
            <a:stCxn id="5" idx="2"/>
            <a:endCxn id="6" idx="0"/>
          </p:cNvCxnSpPr>
          <p:nvPr/>
        </p:nvCxnSpPr>
        <p:spPr>
          <a:xfrm flipH="1">
            <a:off x="3238231" y="3595460"/>
            <a:ext cx="2831829" cy="1405107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>
            <a:stCxn id="5" idx="2"/>
            <a:endCxn id="7" idx="0"/>
          </p:cNvCxnSpPr>
          <p:nvPr/>
        </p:nvCxnSpPr>
        <p:spPr>
          <a:xfrm>
            <a:off x="6070060" y="3595460"/>
            <a:ext cx="2802928" cy="1405107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3467207" y="3816101"/>
            <a:ext cx="53091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77" hangingPunct="0"/>
            <a:r>
              <a:rPr lang="ru-RU" sz="2400" kern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t>Да</a:t>
            </a:r>
            <a:endParaRPr lang="en-US" sz="2400" kern="0" dirty="0">
              <a:solidFill>
                <a:srgbClr val="000000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8117933" y="3820796"/>
            <a:ext cx="64953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77" hangingPunct="0"/>
            <a:r>
              <a:rPr lang="ru-RU" sz="2400" kern="0" dirty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t>Нет</a:t>
            </a:r>
            <a:endParaRPr lang="en-US" sz="2400" kern="0" dirty="0">
              <a:solidFill>
                <a:srgbClr val="000000"/>
              </a:solidFill>
              <a:latin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08027044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11889400" y="6449335"/>
            <a:ext cx="300721" cy="338554"/>
          </a:xfrm>
          <a:prstGeom prst="rect">
            <a:avLst/>
          </a:prstGeom>
        </p:spPr>
        <p:txBody>
          <a:bodyPr/>
          <a:lstStyle/>
          <a:p>
            <a:pPr defTabSz="914377" hangingPunct="0"/>
            <a:fld id="{7DB1B327-4D8B-4363-B1F2-9ED0E4F4AAE4}" type="slidenum">
              <a:rPr lang="ru-RU" kern="0">
                <a:latin typeface="Calibri"/>
                <a:cs typeface="Calibri"/>
                <a:sym typeface="Calibri"/>
              </a:rPr>
              <a:pPr defTabSz="914377" hangingPunct="0"/>
              <a:t>8</a:t>
            </a:fld>
            <a:endParaRPr lang="ru-RU" kern="0">
              <a:latin typeface="Calibri"/>
              <a:cs typeface="Calibri"/>
              <a:sym typeface="Calibri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Жадно найдем лучшее первое ветвление</a:t>
            </a:r>
            <a:endParaRPr lang="en-US" dirty="0"/>
          </a:p>
        </p:txBody>
      </p:sp>
      <p:pic>
        <p:nvPicPr>
          <p:cNvPr id="5" name="Content Placeholder 4" descr="/Users/zian/Library/Group Containers/UBF8T346G9.Office/msoclip1/01/FF9BAD90-7A8E-6240-9C40-855FB54F971B.png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3229" y="1279320"/>
            <a:ext cx="6197600" cy="5156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Straight Connector 6"/>
          <p:cNvCxnSpPr/>
          <p:nvPr/>
        </p:nvCxnSpPr>
        <p:spPr>
          <a:xfrm>
            <a:off x="2316115" y="2721176"/>
            <a:ext cx="4267200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6966577" y="2454436"/>
            <a:ext cx="1571264" cy="5027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77" hangingPunct="0"/>
            <a:r>
              <a:rPr lang="en-US" sz="2667" kern="0" dirty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t>5</a:t>
            </a:r>
            <a:r>
              <a:rPr lang="ru-RU" sz="2667" kern="0" dirty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t> ошибок</a:t>
            </a:r>
            <a:endParaRPr lang="en-US" sz="2667" kern="0" dirty="0">
              <a:solidFill>
                <a:srgbClr val="000000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003229" y="1948329"/>
            <a:ext cx="74536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 hangingPunct="0"/>
            <a:r>
              <a:rPr lang="ru-RU" sz="2400" kern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t>1</a:t>
            </a:r>
            <a:endParaRPr lang="en-US" sz="2400" kern="0" dirty="0">
              <a:solidFill>
                <a:srgbClr val="000000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003229" y="5355172"/>
            <a:ext cx="74536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 hangingPunct="0"/>
            <a:r>
              <a:rPr lang="ru-RU" sz="2400" kern="0" dirty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t>0</a:t>
            </a:r>
            <a:endParaRPr lang="en-US" sz="2400" kern="0" dirty="0">
              <a:solidFill>
                <a:srgbClr val="000000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929390" y="6126169"/>
            <a:ext cx="74536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 hangingPunct="0"/>
            <a:r>
              <a:rPr lang="ru-RU" sz="2400" kern="0" dirty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t>0</a:t>
            </a:r>
            <a:endParaRPr lang="en-US" sz="2400" kern="0" dirty="0">
              <a:solidFill>
                <a:srgbClr val="000000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837946" y="6126169"/>
            <a:ext cx="74536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 hangingPunct="0"/>
            <a:r>
              <a:rPr lang="ru-RU" sz="2400" kern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t>1</a:t>
            </a:r>
            <a:endParaRPr lang="en-US" sz="2400" kern="0" dirty="0">
              <a:solidFill>
                <a:srgbClr val="000000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8595656" y="1226280"/>
            <a:ext cx="1936157" cy="722048"/>
          </a:xfrm>
          <a:prstGeom prst="rect">
            <a:avLst/>
          </a:prstGeom>
          <a:ln w="28575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7" hangingPunct="0"/>
            <a:r>
              <a:rPr lang="en-US" sz="2667" kern="0" dirty="0">
                <a:solidFill>
                  <a:srgbClr val="000000"/>
                </a:solidFill>
                <a:latin typeface="Helvetica"/>
                <a:sym typeface="Calibri"/>
              </a:rPr>
              <a:t>X2 &gt; 0.</a:t>
            </a:r>
            <a:r>
              <a:rPr lang="ru-RU" sz="2667" kern="0" dirty="0">
                <a:solidFill>
                  <a:srgbClr val="000000"/>
                </a:solidFill>
                <a:latin typeface="Helvetica"/>
                <a:sym typeface="Calibri"/>
              </a:rPr>
              <a:t>8</a:t>
            </a:r>
            <a:endParaRPr lang="en-US" sz="2667" kern="0" dirty="0">
              <a:solidFill>
                <a:srgbClr val="000000"/>
              </a:solidFill>
              <a:latin typeface="Helvetica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8472136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11889400" y="6449335"/>
            <a:ext cx="300721" cy="338554"/>
          </a:xfrm>
          <a:prstGeom prst="rect">
            <a:avLst/>
          </a:prstGeom>
        </p:spPr>
        <p:txBody>
          <a:bodyPr/>
          <a:lstStyle/>
          <a:p>
            <a:pPr defTabSz="914377" hangingPunct="0"/>
            <a:fld id="{7DB1B327-4D8B-4363-B1F2-9ED0E4F4AAE4}" type="slidenum">
              <a:rPr lang="ru-RU" kern="0">
                <a:latin typeface="Calibri"/>
                <a:cs typeface="Calibri"/>
                <a:sym typeface="Calibri"/>
              </a:rPr>
              <a:pPr defTabSz="914377" hangingPunct="0"/>
              <a:t>9</a:t>
            </a:fld>
            <a:endParaRPr lang="ru-RU" kern="0">
              <a:latin typeface="Calibri"/>
              <a:cs typeface="Calibri"/>
              <a:sym typeface="Calibri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Жадно найдем лучшее первое ветвление</a:t>
            </a:r>
            <a:endParaRPr lang="en-US" dirty="0"/>
          </a:p>
        </p:txBody>
      </p:sp>
      <p:pic>
        <p:nvPicPr>
          <p:cNvPr id="5" name="Content Placeholder 4" descr="/Users/zian/Library/Group Containers/UBF8T346G9.Office/msoclip1/01/FF9BAD90-7A8E-6240-9C40-855FB54F971B.png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3229" y="1279320"/>
            <a:ext cx="6197600" cy="5156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Straight Connector 6"/>
          <p:cNvCxnSpPr/>
          <p:nvPr/>
        </p:nvCxnSpPr>
        <p:spPr>
          <a:xfrm>
            <a:off x="4102029" y="1501322"/>
            <a:ext cx="0" cy="4177237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6583315" y="3469871"/>
            <a:ext cx="1571264" cy="5027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77" hangingPunct="0"/>
            <a:r>
              <a:rPr lang="ru-RU" sz="2667" kern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t>5 ошибок</a:t>
            </a:r>
            <a:endParaRPr lang="en-US" sz="2667" kern="0" dirty="0">
              <a:solidFill>
                <a:srgbClr val="000000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003229" y="1948329"/>
            <a:ext cx="74536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 hangingPunct="0"/>
            <a:r>
              <a:rPr lang="ru-RU" sz="2400" kern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t>1</a:t>
            </a:r>
            <a:endParaRPr lang="en-US" sz="2400" kern="0" dirty="0">
              <a:solidFill>
                <a:srgbClr val="000000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003229" y="5355172"/>
            <a:ext cx="74536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 hangingPunct="0"/>
            <a:r>
              <a:rPr lang="ru-RU" sz="2400" kern="0" dirty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t>0</a:t>
            </a:r>
            <a:endParaRPr lang="en-US" sz="2400" kern="0" dirty="0">
              <a:solidFill>
                <a:srgbClr val="000000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929390" y="6126169"/>
            <a:ext cx="74536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 hangingPunct="0"/>
            <a:r>
              <a:rPr lang="ru-RU" sz="2400" kern="0" dirty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t>0</a:t>
            </a:r>
            <a:endParaRPr lang="en-US" sz="2400" kern="0" dirty="0">
              <a:solidFill>
                <a:srgbClr val="000000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837946" y="6126169"/>
            <a:ext cx="74536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 hangingPunct="0"/>
            <a:r>
              <a:rPr lang="ru-RU" sz="2400" kern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t>1</a:t>
            </a:r>
            <a:endParaRPr lang="en-US" sz="2400" kern="0" dirty="0">
              <a:solidFill>
                <a:srgbClr val="000000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8595656" y="1226280"/>
            <a:ext cx="1936157" cy="722048"/>
          </a:xfrm>
          <a:prstGeom prst="rect">
            <a:avLst/>
          </a:prstGeom>
          <a:ln w="28575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7" hangingPunct="0"/>
            <a:r>
              <a:rPr lang="en-US" sz="2667" kern="0" dirty="0">
                <a:solidFill>
                  <a:srgbClr val="000000"/>
                </a:solidFill>
                <a:latin typeface="Helvetica"/>
                <a:sym typeface="Calibri"/>
              </a:rPr>
              <a:t>X</a:t>
            </a:r>
            <a:r>
              <a:rPr lang="ru-RU" sz="2667" kern="0" dirty="0">
                <a:solidFill>
                  <a:srgbClr val="000000"/>
                </a:solidFill>
                <a:latin typeface="Helvetica"/>
                <a:sym typeface="Calibri"/>
              </a:rPr>
              <a:t>1</a:t>
            </a:r>
            <a:r>
              <a:rPr lang="en-US" sz="2667" kern="0" dirty="0">
                <a:solidFill>
                  <a:srgbClr val="000000"/>
                </a:solidFill>
                <a:latin typeface="Helvetica"/>
                <a:sym typeface="Calibri"/>
              </a:rPr>
              <a:t> &gt; 0.5</a:t>
            </a:r>
          </a:p>
        </p:txBody>
      </p:sp>
    </p:spTree>
    <p:extLst>
      <p:ext uri="{BB962C8B-B14F-4D97-AF65-F5344CB8AC3E}">
        <p14:creationId xmlns:p14="http://schemas.microsoft.com/office/powerpoint/2010/main" val="18353001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6rzrqw4uEW0r_gW98L4B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0CwDrxZEWXr370rvq.cA"/>
</p:tagLst>
</file>

<file path=ppt/theme/theme1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3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4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6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2_Тема Office">
  <a:themeElements>
    <a:clrScheme name="Custom 3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20BA70"/>
      </a:accent1>
      <a:accent2>
        <a:srgbClr val="2DC2A7"/>
      </a:accent2>
      <a:accent3>
        <a:srgbClr val="1D6964"/>
      </a:accent3>
      <a:accent4>
        <a:srgbClr val="1DA099"/>
      </a:accent4>
      <a:accent5>
        <a:srgbClr val="208468"/>
      </a:accent5>
      <a:accent6>
        <a:srgbClr val="0F7E8A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3_Тема Office">
  <a:themeElements>
    <a:clrScheme name="Custom 3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20BA70"/>
      </a:accent1>
      <a:accent2>
        <a:srgbClr val="2DC2A7"/>
      </a:accent2>
      <a:accent3>
        <a:srgbClr val="1D6964"/>
      </a:accent3>
      <a:accent4>
        <a:srgbClr val="1DA099"/>
      </a:accent4>
      <a:accent5>
        <a:srgbClr val="208468"/>
      </a:accent5>
      <a:accent6>
        <a:srgbClr val="0F7E8A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1_Тема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507</TotalTime>
  <Words>687</Words>
  <Application>Microsoft Office PowerPoint</Application>
  <PresentationFormat>Широкоэкранный</PresentationFormat>
  <Paragraphs>194</Paragraphs>
  <Slides>28</Slides>
  <Notes>6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9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8</vt:i4>
      </vt:variant>
    </vt:vector>
  </HeadingPairs>
  <TitlesOfParts>
    <vt:vector size="45" baseType="lpstr">
      <vt:lpstr>Arial</vt:lpstr>
      <vt:lpstr>Calibri</vt:lpstr>
      <vt:lpstr>Courier New</vt:lpstr>
      <vt:lpstr>Helvetica</vt:lpstr>
      <vt:lpstr>SB Sans Display Light</vt:lpstr>
      <vt:lpstr>SB Sans Display Regular</vt:lpstr>
      <vt:lpstr>Wingdings</vt:lpstr>
      <vt:lpstr>Custom Design</vt:lpstr>
      <vt:lpstr>1_Custom Design</vt:lpstr>
      <vt:lpstr>2_Custom Design</vt:lpstr>
      <vt:lpstr>3_Custom Design</vt:lpstr>
      <vt:lpstr>4_Custom Design</vt:lpstr>
      <vt:lpstr>6_Custom Design</vt:lpstr>
      <vt:lpstr>2_Тема Office</vt:lpstr>
      <vt:lpstr>3_Тема Office</vt:lpstr>
      <vt:lpstr>1_Тема Office</vt:lpstr>
      <vt:lpstr>think-cell Slide</vt:lpstr>
      <vt:lpstr>Презентация PowerPoint</vt:lpstr>
      <vt:lpstr>Решающие деревья</vt:lpstr>
      <vt:lpstr>Решающее дерево</vt:lpstr>
      <vt:lpstr>Рассмотрим задачу</vt:lpstr>
      <vt:lpstr>Может линейной моделью решить?</vt:lpstr>
      <vt:lpstr>Но ведь можно так</vt:lpstr>
      <vt:lpstr>Будем строить решающее дерево</vt:lpstr>
      <vt:lpstr>Жадно найдем лучшее первое ветвление</vt:lpstr>
      <vt:lpstr>Жадно найдем лучшее первое ветвление</vt:lpstr>
      <vt:lpstr>Жадно найдем лучшее первое ветвление</vt:lpstr>
      <vt:lpstr>Нашли лучшее первое ветвление</vt:lpstr>
      <vt:lpstr>Нашли лучшее первое ветвление</vt:lpstr>
      <vt:lpstr>Нашли лучшее второе ветвление</vt:lpstr>
      <vt:lpstr>Построили все дерево</vt:lpstr>
      <vt:lpstr>В предыдущий раз скорее всего переобучились!</vt:lpstr>
      <vt:lpstr>Решающее дерево для регрессии</vt:lpstr>
      <vt:lpstr>Первое лучшее разбиение</vt:lpstr>
      <vt:lpstr>Второе лучшее разбиение</vt:lpstr>
      <vt:lpstr>Решающие деревья: как приближают</vt:lpstr>
      <vt:lpstr>Решающие деревья: как приближают</vt:lpstr>
      <vt:lpstr>Решающие деревья</vt:lpstr>
      <vt:lpstr>Градиентный бустинг</vt:lpstr>
      <vt:lpstr>Градиентный бустинг: строим следующее дерево на остатки</vt:lpstr>
      <vt:lpstr>Современные реализации</vt:lpstr>
      <vt:lpstr>Ансамбли моделей</vt:lpstr>
      <vt:lpstr>Бэггинг</vt:lpstr>
      <vt:lpstr>Когда ансамбли не помогают</vt:lpstr>
      <vt:lpstr>Стекинг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Введение в анализ данных</dc:title>
  <dc:creator>Evgeny Sokolov</dc:creator>
  <cp:lastModifiedBy>Паршаков Петр Андреевич</cp:lastModifiedBy>
  <cp:revision>333</cp:revision>
  <cp:lastPrinted>2016-01-18T22:45:54Z</cp:lastPrinted>
  <dcterms:created xsi:type="dcterms:W3CDTF">2016-01-10T22:08:56Z</dcterms:created>
  <dcterms:modified xsi:type="dcterms:W3CDTF">2025-10-09T05:44:25Z</dcterms:modified>
</cp:coreProperties>
</file>